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478" r:id="rId4"/>
    <p:sldMasterId id="2147485629" r:id="rId5"/>
  </p:sldMasterIdLst>
  <p:notesMasterIdLst>
    <p:notesMasterId r:id="rId15"/>
  </p:notesMasterIdLst>
  <p:sldIdLst>
    <p:sldId id="362" r:id="rId6"/>
    <p:sldId id="361" r:id="rId7"/>
    <p:sldId id="363" r:id="rId8"/>
    <p:sldId id="364" r:id="rId9"/>
    <p:sldId id="360" r:id="rId10"/>
    <p:sldId id="367" r:id="rId11"/>
    <p:sldId id="365" r:id="rId12"/>
    <p:sldId id="368" r:id="rId13"/>
    <p:sldId id="366" r:id="rId14"/>
  </p:sldIdLst>
  <p:sldSz cx="9144000" cy="5143500" type="screen16x9"/>
  <p:notesSz cx="6797675" cy="992822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72" userDrawn="1">
          <p15:clr>
            <a:srgbClr val="A4A3A4"/>
          </p15:clr>
        </p15:guide>
        <p15:guide id="2" pos="68" userDrawn="1">
          <p15:clr>
            <a:srgbClr val="A4A3A4"/>
          </p15:clr>
        </p15:guide>
        <p15:guide id="3" orient="horz" pos="315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ridhar Akshanthula (WT01 - TT-PM/DM/PgMA/PLCP)" initials="SA(-T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173D75"/>
    <a:srgbClr val="FFCC00"/>
    <a:srgbClr val="FFFF00"/>
    <a:srgbClr val="707070"/>
    <a:srgbClr val="696969"/>
    <a:srgbClr val="686868"/>
    <a:srgbClr val="FFDB31"/>
    <a:srgbClr val="0BA5E0"/>
    <a:srgbClr val="FFDA29"/>
    <a:srgbClr val="0E35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12" autoAdjust="0"/>
    <p:restoredTop sz="94322" autoAdjust="0"/>
  </p:normalViewPr>
  <p:slideViewPr>
    <p:cSldViewPr snapToGrid="0">
      <p:cViewPr varScale="1">
        <p:scale>
          <a:sx n="85" d="100"/>
          <a:sy n="85" d="100"/>
        </p:scale>
        <p:origin x="1116" y="78"/>
      </p:cViewPr>
      <p:guideLst>
        <p:guide orient="horz" pos="3072"/>
        <p:guide pos="68"/>
        <p:guide orient="horz" pos="3156"/>
      </p:guideLst>
    </p:cSldViewPr>
  </p:slideViewPr>
  <p:outlineViewPr>
    <p:cViewPr>
      <p:scale>
        <a:sx n="33" d="100"/>
        <a:sy n="33" d="100"/>
      </p:scale>
      <p:origin x="0" y="-268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0985DB5-8D67-47FB-9A44-C32748356B78}" type="doc">
      <dgm:prSet loTypeId="urn:microsoft.com/office/officeart/2005/8/layout/cycle2" loCatId="cycle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en-US"/>
        </a:p>
      </dgm:t>
    </dgm:pt>
    <dgm:pt modelId="{0CC42A62-00EA-4CD1-84CF-08A02D37F44D}">
      <dgm:prSet phldrT="[Text]"/>
      <dgm:spPr>
        <a:solidFill>
          <a:schemeClr val="bg1"/>
        </a:solidFill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n-US" dirty="0"/>
        </a:p>
      </dgm:t>
    </dgm:pt>
    <dgm:pt modelId="{4B258324-19C9-408C-AAEF-A9C6D1B2949C}" type="parTrans" cxnId="{FA770972-ADC3-4EDB-9FFC-65F004BC4E6E}">
      <dgm:prSet/>
      <dgm:spPr/>
      <dgm:t>
        <a:bodyPr/>
        <a:lstStyle/>
        <a:p>
          <a:endParaRPr lang="en-US"/>
        </a:p>
      </dgm:t>
    </dgm:pt>
    <dgm:pt modelId="{9A0CBCE6-0BE7-4531-975C-CDE2EC3B2ECD}" type="sibTrans" cxnId="{FA770972-ADC3-4EDB-9FFC-65F004BC4E6E}">
      <dgm:prSet/>
      <dgm:spPr>
        <a:solidFill>
          <a:schemeClr val="bg2">
            <a:lumMod val="50000"/>
          </a:schemeClr>
        </a:solidFill>
        <a:ln>
          <a:solidFill>
            <a:schemeClr val="bg2"/>
          </a:solidFill>
        </a:ln>
      </dgm:spPr>
      <dgm:t>
        <a:bodyPr/>
        <a:lstStyle/>
        <a:p>
          <a:endParaRPr lang="en-US"/>
        </a:p>
      </dgm:t>
    </dgm:pt>
    <dgm:pt modelId="{FA465645-F9FF-40E1-8BA8-EA593E5B1F09}">
      <dgm:prSet/>
      <dgm:spPr>
        <a:solidFill>
          <a:schemeClr val="bg1"/>
        </a:solidFill>
        <a:ln>
          <a:solidFill>
            <a:schemeClr val="tx2"/>
          </a:solidFill>
        </a:ln>
      </dgm:spPr>
      <dgm:t>
        <a:bodyPr/>
        <a:lstStyle/>
        <a:p>
          <a:endParaRPr lang="en-US" dirty="0"/>
        </a:p>
      </dgm:t>
    </dgm:pt>
    <dgm:pt modelId="{1169FE1B-AB82-4082-87BC-5E3C87F9D971}" type="parTrans" cxnId="{58D08D62-11D5-427D-822E-7141F0A89169}">
      <dgm:prSet/>
      <dgm:spPr/>
      <dgm:t>
        <a:bodyPr/>
        <a:lstStyle/>
        <a:p>
          <a:endParaRPr lang="en-US"/>
        </a:p>
      </dgm:t>
    </dgm:pt>
    <dgm:pt modelId="{1B313566-0561-4C25-9548-7F87EA795C50}" type="sibTrans" cxnId="{58D08D62-11D5-427D-822E-7141F0A89169}">
      <dgm:prSet/>
      <dgm:spPr>
        <a:solidFill>
          <a:schemeClr val="tx2"/>
        </a:solidFill>
      </dgm:spPr>
      <dgm:t>
        <a:bodyPr/>
        <a:lstStyle/>
        <a:p>
          <a:endParaRPr lang="en-US"/>
        </a:p>
      </dgm:t>
    </dgm:pt>
    <dgm:pt modelId="{FC8866D5-C71E-4A15-A679-3D8A95D7A462}">
      <dgm:prSet/>
      <dgm:spPr>
        <a:solidFill>
          <a:schemeClr val="bg1"/>
        </a:solidFill>
        <a:ln>
          <a:solidFill>
            <a:schemeClr val="accent3"/>
          </a:solidFill>
        </a:ln>
      </dgm:spPr>
      <dgm:t>
        <a:bodyPr/>
        <a:lstStyle/>
        <a:p>
          <a:endParaRPr lang="en-US" dirty="0"/>
        </a:p>
      </dgm:t>
    </dgm:pt>
    <dgm:pt modelId="{CD56D27E-648E-4085-81CC-8F0E8AED95FD}" type="parTrans" cxnId="{BF972B2E-62A3-4041-8033-FB3CE22531A2}">
      <dgm:prSet/>
      <dgm:spPr/>
      <dgm:t>
        <a:bodyPr/>
        <a:lstStyle/>
        <a:p>
          <a:endParaRPr lang="en-US"/>
        </a:p>
      </dgm:t>
    </dgm:pt>
    <dgm:pt modelId="{17080627-1287-42B0-8575-FC472F00B276}" type="sibTrans" cxnId="{BF972B2E-62A3-4041-8033-FB3CE22531A2}">
      <dgm:prSet/>
      <dgm:spPr>
        <a:solidFill>
          <a:schemeClr val="accent3"/>
        </a:solidFill>
        <a:ln>
          <a:solidFill>
            <a:schemeClr val="accent3"/>
          </a:solidFill>
        </a:ln>
      </dgm:spPr>
      <dgm:t>
        <a:bodyPr/>
        <a:lstStyle/>
        <a:p>
          <a:endParaRPr lang="en-US"/>
        </a:p>
      </dgm:t>
    </dgm:pt>
    <dgm:pt modelId="{A16F0C1D-BAE9-4D65-BE82-ADC5D6FCB8A0}">
      <dgm:prSet/>
      <dgm:spPr>
        <a:solidFill>
          <a:schemeClr val="bg1"/>
        </a:solidFill>
        <a:ln>
          <a:solidFill>
            <a:schemeClr val="accent6"/>
          </a:solidFill>
        </a:ln>
      </dgm:spPr>
      <dgm:t>
        <a:bodyPr/>
        <a:lstStyle/>
        <a:p>
          <a:endParaRPr lang="en-US" dirty="0"/>
        </a:p>
      </dgm:t>
    </dgm:pt>
    <dgm:pt modelId="{28A5C4E1-C842-44F1-A9CE-9A07E8DFC553}" type="parTrans" cxnId="{88BC3F95-D617-4598-85B9-B5C2D9AB263C}">
      <dgm:prSet/>
      <dgm:spPr/>
      <dgm:t>
        <a:bodyPr/>
        <a:lstStyle/>
        <a:p>
          <a:endParaRPr lang="en-US"/>
        </a:p>
      </dgm:t>
    </dgm:pt>
    <dgm:pt modelId="{681904E1-9BFB-4E08-8856-830F0BC51E4B}" type="sibTrans" cxnId="{88BC3F95-D617-4598-85B9-B5C2D9AB263C}">
      <dgm:prSet/>
      <dgm:spPr>
        <a:solidFill>
          <a:schemeClr val="accent6"/>
        </a:solidFill>
      </dgm:spPr>
      <dgm:t>
        <a:bodyPr/>
        <a:lstStyle/>
        <a:p>
          <a:endParaRPr lang="en-US"/>
        </a:p>
      </dgm:t>
    </dgm:pt>
    <dgm:pt modelId="{895784D5-9210-4909-A1AB-965A12A5B72C}">
      <dgm:prSet>
        <dgm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dgm:style>
      </dgm:prSet>
      <dgm:spPr>
        <a:solidFill>
          <a:schemeClr val="bg1"/>
        </a:solidFill>
      </dgm:spPr>
      <dgm:t>
        <a:bodyPr/>
        <a:lstStyle/>
        <a:p>
          <a:endParaRPr lang="en-US" dirty="0"/>
        </a:p>
      </dgm:t>
    </dgm:pt>
    <dgm:pt modelId="{231E113B-3873-4258-B232-439E4997960D}" type="sibTrans" cxnId="{54491224-9432-4FBE-BB4D-C0670B0CB0EE}">
      <dgm:prSet/>
      <dgm:spPr>
        <a:solidFill>
          <a:schemeClr val="accent4"/>
        </a:solidFill>
      </dgm:spPr>
      <dgm:t>
        <a:bodyPr/>
        <a:lstStyle/>
        <a:p>
          <a:endParaRPr lang="en-US"/>
        </a:p>
      </dgm:t>
    </dgm:pt>
    <dgm:pt modelId="{E4934EC7-3E72-4159-A3FE-FB133F28DD28}" type="parTrans" cxnId="{54491224-9432-4FBE-BB4D-C0670B0CB0EE}">
      <dgm:prSet/>
      <dgm:spPr/>
      <dgm:t>
        <a:bodyPr/>
        <a:lstStyle/>
        <a:p>
          <a:endParaRPr lang="en-US"/>
        </a:p>
      </dgm:t>
    </dgm:pt>
    <dgm:pt modelId="{16300D79-753E-4710-ABC4-5D5369A43C1C}">
      <dgm:prSet/>
      <dgm:spPr>
        <a:solidFill>
          <a:schemeClr val="bg1"/>
        </a:solidFill>
        <a:ln>
          <a:solidFill>
            <a:schemeClr val="accent1"/>
          </a:solidFill>
        </a:ln>
      </dgm:spPr>
      <dgm:t>
        <a:bodyPr/>
        <a:lstStyle/>
        <a:p>
          <a:endParaRPr lang="en-US" dirty="0"/>
        </a:p>
      </dgm:t>
    </dgm:pt>
    <dgm:pt modelId="{4BF342F0-19CF-45E1-B72B-1771BE08C58C}" type="parTrans" cxnId="{B5E141F9-FF97-4F1F-92C3-8AA3C0D1321D}">
      <dgm:prSet/>
      <dgm:spPr/>
      <dgm:t>
        <a:bodyPr/>
        <a:lstStyle/>
        <a:p>
          <a:endParaRPr lang="en-US"/>
        </a:p>
      </dgm:t>
    </dgm:pt>
    <dgm:pt modelId="{D14BAB0D-B6D8-40F5-BC66-F0143657CD5A}" type="sibTrans" cxnId="{B5E141F9-FF97-4F1F-92C3-8AA3C0D1321D}">
      <dgm:prSet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accent1"/>
        </a:solidFill>
        <a:ln>
          <a:noFill/>
        </a:ln>
      </dgm:spPr>
      <dgm:t>
        <a:bodyPr/>
        <a:lstStyle/>
        <a:p>
          <a:endParaRPr lang="en-US"/>
        </a:p>
      </dgm:t>
    </dgm:pt>
    <dgm:pt modelId="{7C811FF1-F795-462F-9440-43EEF9544BF5}">
      <dgm:prSet/>
      <dgm:spPr>
        <a:ln>
          <a:solidFill>
            <a:schemeClr val="accent2"/>
          </a:solidFill>
        </a:ln>
      </dgm:spPr>
      <dgm:t>
        <a:bodyPr/>
        <a:lstStyle/>
        <a:p>
          <a:endParaRPr lang="en-US"/>
        </a:p>
      </dgm:t>
    </dgm:pt>
    <dgm:pt modelId="{93082C71-7A23-4DB8-B6C9-E30264AFF5D5}" type="parTrans" cxnId="{FFC1FE05-7F12-430C-B007-9AA67F954BE8}">
      <dgm:prSet/>
      <dgm:spPr/>
      <dgm:t>
        <a:bodyPr/>
        <a:lstStyle/>
        <a:p>
          <a:endParaRPr lang="en-US"/>
        </a:p>
      </dgm:t>
    </dgm:pt>
    <dgm:pt modelId="{57264CA1-2D14-4CAA-A784-1D940FC6A592}" type="sibTrans" cxnId="{FFC1FE05-7F12-430C-B007-9AA67F954BE8}">
      <dgm:prSet/>
      <dgm:spPr>
        <a:solidFill>
          <a:schemeClr val="accent2"/>
        </a:solidFill>
      </dgm:spPr>
      <dgm:t>
        <a:bodyPr/>
        <a:lstStyle/>
        <a:p>
          <a:endParaRPr lang="en-US"/>
        </a:p>
      </dgm:t>
    </dgm:pt>
    <dgm:pt modelId="{3DBF96BC-2914-41AC-A701-B157F592646B}">
      <dgm:prSet phldrT="[Text]"/>
      <dgm:spPr>
        <a:ln>
          <a:solidFill>
            <a:schemeClr val="accent3"/>
          </a:solidFill>
        </a:ln>
      </dgm:spPr>
      <dgm:t>
        <a:bodyPr/>
        <a:lstStyle/>
        <a:p>
          <a:endParaRPr lang="en-US" dirty="0">
            <a:solidFill>
              <a:schemeClr val="accent3"/>
            </a:solidFill>
          </a:endParaRPr>
        </a:p>
      </dgm:t>
    </dgm:pt>
    <dgm:pt modelId="{268764EF-8B4A-4CEF-A753-A1F7E935F9D0}" type="sibTrans" cxnId="{5FE11A8F-7A81-47D6-BD4D-388BB8650C89}">
      <dgm:prSet/>
      <dgm:spPr>
        <a:solidFill>
          <a:schemeClr val="accent5"/>
        </a:solidFill>
      </dgm:spPr>
      <dgm:t>
        <a:bodyPr/>
        <a:lstStyle/>
        <a:p>
          <a:endParaRPr lang="en-US"/>
        </a:p>
      </dgm:t>
    </dgm:pt>
    <dgm:pt modelId="{1A647B6D-5452-4FEA-9F9D-22BE2BCF1553}" type="parTrans" cxnId="{5FE11A8F-7A81-47D6-BD4D-388BB8650C89}">
      <dgm:prSet/>
      <dgm:spPr/>
      <dgm:t>
        <a:bodyPr/>
        <a:lstStyle/>
        <a:p>
          <a:endParaRPr lang="en-US"/>
        </a:p>
      </dgm:t>
    </dgm:pt>
    <dgm:pt modelId="{66AFDEEA-90DC-4C7C-BC8F-F13855DD7B22}" type="pres">
      <dgm:prSet presAssocID="{60985DB5-8D67-47FB-9A44-C32748356B78}" presName="cycle" presStyleCnt="0">
        <dgm:presLayoutVars>
          <dgm:dir/>
          <dgm:resizeHandles val="exact"/>
        </dgm:presLayoutVars>
      </dgm:prSet>
      <dgm:spPr/>
    </dgm:pt>
    <dgm:pt modelId="{E546B726-A30B-428D-8100-016859C5720C}" type="pres">
      <dgm:prSet presAssocID="{0CC42A62-00EA-4CD1-84CF-08A02D37F44D}" presName="node" presStyleLbl="node1" presStyleIdx="0" presStyleCnt="8">
        <dgm:presLayoutVars>
          <dgm:bulletEnabled val="1"/>
        </dgm:presLayoutVars>
      </dgm:prSet>
      <dgm:spPr/>
    </dgm:pt>
    <dgm:pt modelId="{D0C2D00E-1C45-462B-9ED9-86F1E317BADC}" type="pres">
      <dgm:prSet presAssocID="{9A0CBCE6-0BE7-4531-975C-CDE2EC3B2ECD}" presName="sibTrans" presStyleLbl="sibTrans2D1" presStyleIdx="0" presStyleCnt="8"/>
      <dgm:spPr/>
    </dgm:pt>
    <dgm:pt modelId="{75EBFEB2-F8F8-4AAE-9D64-8D774B3D097C}" type="pres">
      <dgm:prSet presAssocID="{9A0CBCE6-0BE7-4531-975C-CDE2EC3B2ECD}" presName="connectorText" presStyleLbl="sibTrans2D1" presStyleIdx="0" presStyleCnt="8"/>
      <dgm:spPr/>
    </dgm:pt>
    <dgm:pt modelId="{08D3D4D9-66D9-4941-8136-5B5C573901C3}" type="pres">
      <dgm:prSet presAssocID="{3DBF96BC-2914-41AC-A701-B157F592646B}" presName="node" presStyleLbl="node1" presStyleIdx="1" presStyleCnt="8">
        <dgm:presLayoutVars>
          <dgm:bulletEnabled val="1"/>
        </dgm:presLayoutVars>
      </dgm:prSet>
      <dgm:spPr/>
    </dgm:pt>
    <dgm:pt modelId="{9B710F5D-704C-4921-9EB5-548E96343480}" type="pres">
      <dgm:prSet presAssocID="{268764EF-8B4A-4CEF-A753-A1F7E935F9D0}" presName="sibTrans" presStyleLbl="sibTrans2D1" presStyleIdx="1" presStyleCnt="8"/>
      <dgm:spPr/>
    </dgm:pt>
    <dgm:pt modelId="{92B2FBFB-2DB8-4B82-B1BA-A06E41DB9FD9}" type="pres">
      <dgm:prSet presAssocID="{268764EF-8B4A-4CEF-A753-A1F7E935F9D0}" presName="connectorText" presStyleLbl="sibTrans2D1" presStyleIdx="1" presStyleCnt="8"/>
      <dgm:spPr/>
    </dgm:pt>
    <dgm:pt modelId="{ACFD2A2C-628C-47CE-A222-007FF1726BBF}" type="pres">
      <dgm:prSet presAssocID="{895784D5-9210-4909-A1AB-965A12A5B72C}" presName="node" presStyleLbl="node1" presStyleIdx="2" presStyleCnt="8">
        <dgm:presLayoutVars>
          <dgm:bulletEnabled val="1"/>
        </dgm:presLayoutVars>
      </dgm:prSet>
      <dgm:spPr/>
    </dgm:pt>
    <dgm:pt modelId="{CF8F641B-76F7-47E3-95FE-EB1215175080}" type="pres">
      <dgm:prSet presAssocID="{231E113B-3873-4258-B232-439E4997960D}" presName="sibTrans" presStyleLbl="sibTrans2D1" presStyleIdx="2" presStyleCnt="8"/>
      <dgm:spPr/>
    </dgm:pt>
    <dgm:pt modelId="{01276967-0318-449C-9AEE-FECA7016182A}" type="pres">
      <dgm:prSet presAssocID="{231E113B-3873-4258-B232-439E4997960D}" presName="connectorText" presStyleLbl="sibTrans2D1" presStyleIdx="2" presStyleCnt="8"/>
      <dgm:spPr/>
    </dgm:pt>
    <dgm:pt modelId="{F1A87F87-4D87-45D1-9DB7-3DFB8573593E}" type="pres">
      <dgm:prSet presAssocID="{FC8866D5-C71E-4A15-A679-3D8A95D7A462}" presName="node" presStyleLbl="node1" presStyleIdx="3" presStyleCnt="8">
        <dgm:presLayoutVars>
          <dgm:bulletEnabled val="1"/>
        </dgm:presLayoutVars>
      </dgm:prSet>
      <dgm:spPr/>
    </dgm:pt>
    <dgm:pt modelId="{72951F6F-58D4-4269-8BB4-D7801500AD54}" type="pres">
      <dgm:prSet presAssocID="{17080627-1287-42B0-8575-FC472F00B276}" presName="sibTrans" presStyleLbl="sibTrans2D1" presStyleIdx="3" presStyleCnt="8"/>
      <dgm:spPr/>
    </dgm:pt>
    <dgm:pt modelId="{46DA1563-7CA0-4EDE-B23E-C0B42EEA699A}" type="pres">
      <dgm:prSet presAssocID="{17080627-1287-42B0-8575-FC472F00B276}" presName="connectorText" presStyleLbl="sibTrans2D1" presStyleIdx="3" presStyleCnt="8"/>
      <dgm:spPr/>
    </dgm:pt>
    <dgm:pt modelId="{67818648-4A2C-4156-9AB8-0967F56D7E1D}" type="pres">
      <dgm:prSet presAssocID="{A16F0C1D-BAE9-4D65-BE82-ADC5D6FCB8A0}" presName="node" presStyleLbl="node1" presStyleIdx="4" presStyleCnt="8">
        <dgm:presLayoutVars>
          <dgm:bulletEnabled val="1"/>
        </dgm:presLayoutVars>
      </dgm:prSet>
      <dgm:spPr/>
    </dgm:pt>
    <dgm:pt modelId="{752A8DAA-9C2D-45E3-91E3-0D9590B4B5D7}" type="pres">
      <dgm:prSet presAssocID="{681904E1-9BFB-4E08-8856-830F0BC51E4B}" presName="sibTrans" presStyleLbl="sibTrans2D1" presStyleIdx="4" presStyleCnt="8"/>
      <dgm:spPr/>
    </dgm:pt>
    <dgm:pt modelId="{AF24163F-6081-450A-89A4-9F34B70CE41F}" type="pres">
      <dgm:prSet presAssocID="{681904E1-9BFB-4E08-8856-830F0BC51E4B}" presName="connectorText" presStyleLbl="sibTrans2D1" presStyleIdx="4" presStyleCnt="8"/>
      <dgm:spPr/>
    </dgm:pt>
    <dgm:pt modelId="{3C1D2109-61F7-4B3F-AB56-6381A74264D6}" type="pres">
      <dgm:prSet presAssocID="{16300D79-753E-4710-ABC4-5D5369A43C1C}" presName="node" presStyleLbl="node1" presStyleIdx="5" presStyleCnt="8">
        <dgm:presLayoutVars>
          <dgm:bulletEnabled val="1"/>
        </dgm:presLayoutVars>
      </dgm:prSet>
      <dgm:spPr/>
    </dgm:pt>
    <dgm:pt modelId="{2369B40D-005E-4D53-8484-0069DCE3FB60}" type="pres">
      <dgm:prSet presAssocID="{D14BAB0D-B6D8-40F5-BC66-F0143657CD5A}" presName="sibTrans" presStyleLbl="sibTrans2D1" presStyleIdx="5" presStyleCnt="8"/>
      <dgm:spPr/>
    </dgm:pt>
    <dgm:pt modelId="{2BFC3066-A8C0-47E8-80F9-F015DD4DF70D}" type="pres">
      <dgm:prSet presAssocID="{D14BAB0D-B6D8-40F5-BC66-F0143657CD5A}" presName="connectorText" presStyleLbl="sibTrans2D1" presStyleIdx="5" presStyleCnt="8"/>
      <dgm:spPr/>
    </dgm:pt>
    <dgm:pt modelId="{24446683-0E6F-494C-A6E7-16C2448A6321}" type="pres">
      <dgm:prSet presAssocID="{FA465645-F9FF-40E1-8BA8-EA593E5B1F09}" presName="node" presStyleLbl="node1" presStyleIdx="6" presStyleCnt="8">
        <dgm:presLayoutVars>
          <dgm:bulletEnabled val="1"/>
        </dgm:presLayoutVars>
      </dgm:prSet>
      <dgm:spPr/>
    </dgm:pt>
    <dgm:pt modelId="{77C92CAF-3A57-463E-80AB-03AF55017691}" type="pres">
      <dgm:prSet presAssocID="{1B313566-0561-4C25-9548-7F87EA795C50}" presName="sibTrans" presStyleLbl="sibTrans2D1" presStyleIdx="6" presStyleCnt="8"/>
      <dgm:spPr/>
    </dgm:pt>
    <dgm:pt modelId="{5BA9E603-F5A8-4CC0-9452-576CD2744840}" type="pres">
      <dgm:prSet presAssocID="{1B313566-0561-4C25-9548-7F87EA795C50}" presName="connectorText" presStyleLbl="sibTrans2D1" presStyleIdx="6" presStyleCnt="8"/>
      <dgm:spPr/>
    </dgm:pt>
    <dgm:pt modelId="{3753025E-1673-4E9A-AA84-76A19B549A65}" type="pres">
      <dgm:prSet presAssocID="{7C811FF1-F795-462F-9440-43EEF9544BF5}" presName="node" presStyleLbl="node1" presStyleIdx="7" presStyleCnt="8">
        <dgm:presLayoutVars>
          <dgm:bulletEnabled val="1"/>
        </dgm:presLayoutVars>
      </dgm:prSet>
      <dgm:spPr/>
    </dgm:pt>
    <dgm:pt modelId="{28911FC2-36E8-4621-8B33-AEC807A1B691}" type="pres">
      <dgm:prSet presAssocID="{57264CA1-2D14-4CAA-A784-1D940FC6A592}" presName="sibTrans" presStyleLbl="sibTrans2D1" presStyleIdx="7" presStyleCnt="8"/>
      <dgm:spPr/>
    </dgm:pt>
    <dgm:pt modelId="{AC3539FE-BBB0-4224-8A5C-D1A009180C11}" type="pres">
      <dgm:prSet presAssocID="{57264CA1-2D14-4CAA-A784-1D940FC6A592}" presName="connectorText" presStyleLbl="sibTrans2D1" presStyleIdx="7" presStyleCnt="8"/>
      <dgm:spPr/>
    </dgm:pt>
  </dgm:ptLst>
  <dgm:cxnLst>
    <dgm:cxn modelId="{D39C7A03-8FB9-4BAF-81CB-4910E9609C00}" type="presOf" srcId="{FA465645-F9FF-40E1-8BA8-EA593E5B1F09}" destId="{24446683-0E6F-494C-A6E7-16C2448A6321}" srcOrd="0" destOrd="0" presId="urn:microsoft.com/office/officeart/2005/8/layout/cycle2"/>
    <dgm:cxn modelId="{FFC1FE05-7F12-430C-B007-9AA67F954BE8}" srcId="{60985DB5-8D67-47FB-9A44-C32748356B78}" destId="{7C811FF1-F795-462F-9440-43EEF9544BF5}" srcOrd="7" destOrd="0" parTransId="{93082C71-7A23-4DB8-B6C9-E30264AFF5D5}" sibTransId="{57264CA1-2D14-4CAA-A784-1D940FC6A592}"/>
    <dgm:cxn modelId="{DE21CA07-E39D-4D6C-9DBC-8664C2D9A5B7}" type="presOf" srcId="{D14BAB0D-B6D8-40F5-BC66-F0143657CD5A}" destId="{2BFC3066-A8C0-47E8-80F9-F015DD4DF70D}" srcOrd="1" destOrd="0" presId="urn:microsoft.com/office/officeart/2005/8/layout/cycle2"/>
    <dgm:cxn modelId="{F0FD6621-F128-47F5-A872-811A80A55666}" type="presOf" srcId="{9A0CBCE6-0BE7-4531-975C-CDE2EC3B2ECD}" destId="{D0C2D00E-1C45-462B-9ED9-86F1E317BADC}" srcOrd="0" destOrd="0" presId="urn:microsoft.com/office/officeart/2005/8/layout/cycle2"/>
    <dgm:cxn modelId="{54491224-9432-4FBE-BB4D-C0670B0CB0EE}" srcId="{60985DB5-8D67-47FB-9A44-C32748356B78}" destId="{895784D5-9210-4909-A1AB-965A12A5B72C}" srcOrd="2" destOrd="0" parTransId="{E4934EC7-3E72-4159-A3FE-FB133F28DD28}" sibTransId="{231E113B-3873-4258-B232-439E4997960D}"/>
    <dgm:cxn modelId="{B0CCF225-CCDB-4D2E-B165-C756E2698B4B}" type="presOf" srcId="{3DBF96BC-2914-41AC-A701-B157F592646B}" destId="{08D3D4D9-66D9-4941-8136-5B5C573901C3}" srcOrd="0" destOrd="0" presId="urn:microsoft.com/office/officeart/2005/8/layout/cycle2"/>
    <dgm:cxn modelId="{7F225A26-B62D-4821-BC4B-A67F929C32D9}" type="presOf" srcId="{57264CA1-2D14-4CAA-A784-1D940FC6A592}" destId="{28911FC2-36E8-4621-8B33-AEC807A1B691}" srcOrd="0" destOrd="0" presId="urn:microsoft.com/office/officeart/2005/8/layout/cycle2"/>
    <dgm:cxn modelId="{9ED4472A-A1F4-4005-B5BD-6DB37C93AB7F}" type="presOf" srcId="{1B313566-0561-4C25-9548-7F87EA795C50}" destId="{5BA9E603-F5A8-4CC0-9452-576CD2744840}" srcOrd="1" destOrd="0" presId="urn:microsoft.com/office/officeart/2005/8/layout/cycle2"/>
    <dgm:cxn modelId="{1ECCC32D-62E4-4075-98D1-2B34133A354A}" type="presOf" srcId="{0CC42A62-00EA-4CD1-84CF-08A02D37F44D}" destId="{E546B726-A30B-428D-8100-016859C5720C}" srcOrd="0" destOrd="0" presId="urn:microsoft.com/office/officeart/2005/8/layout/cycle2"/>
    <dgm:cxn modelId="{25D2EF2D-9900-4A72-948C-62BD8F34D78A}" type="presOf" srcId="{895784D5-9210-4909-A1AB-965A12A5B72C}" destId="{ACFD2A2C-628C-47CE-A222-007FF1726BBF}" srcOrd="0" destOrd="0" presId="urn:microsoft.com/office/officeart/2005/8/layout/cycle2"/>
    <dgm:cxn modelId="{BF972B2E-62A3-4041-8033-FB3CE22531A2}" srcId="{60985DB5-8D67-47FB-9A44-C32748356B78}" destId="{FC8866D5-C71E-4A15-A679-3D8A95D7A462}" srcOrd="3" destOrd="0" parTransId="{CD56D27E-648E-4085-81CC-8F0E8AED95FD}" sibTransId="{17080627-1287-42B0-8575-FC472F00B276}"/>
    <dgm:cxn modelId="{EA35F939-B658-42A1-B158-78DA35E4B512}" type="presOf" srcId="{231E113B-3873-4258-B232-439E4997960D}" destId="{01276967-0318-449C-9AEE-FECA7016182A}" srcOrd="1" destOrd="0" presId="urn:microsoft.com/office/officeart/2005/8/layout/cycle2"/>
    <dgm:cxn modelId="{99CDD03B-8157-4221-8FA2-B26E56847C8C}" type="presOf" srcId="{681904E1-9BFB-4E08-8856-830F0BC51E4B}" destId="{752A8DAA-9C2D-45E3-91E3-0D9590B4B5D7}" srcOrd="0" destOrd="0" presId="urn:microsoft.com/office/officeart/2005/8/layout/cycle2"/>
    <dgm:cxn modelId="{24025940-4137-4BD8-AFC7-DAF895D57303}" type="presOf" srcId="{57264CA1-2D14-4CAA-A784-1D940FC6A592}" destId="{AC3539FE-BBB0-4224-8A5C-D1A009180C11}" srcOrd="1" destOrd="0" presId="urn:microsoft.com/office/officeart/2005/8/layout/cycle2"/>
    <dgm:cxn modelId="{58D08D62-11D5-427D-822E-7141F0A89169}" srcId="{60985DB5-8D67-47FB-9A44-C32748356B78}" destId="{FA465645-F9FF-40E1-8BA8-EA593E5B1F09}" srcOrd="6" destOrd="0" parTransId="{1169FE1B-AB82-4082-87BC-5E3C87F9D971}" sibTransId="{1B313566-0561-4C25-9548-7F87EA795C50}"/>
    <dgm:cxn modelId="{F3A3196A-26A9-4F4D-A036-F78FEDF4CA90}" type="presOf" srcId="{A16F0C1D-BAE9-4D65-BE82-ADC5D6FCB8A0}" destId="{67818648-4A2C-4156-9AB8-0967F56D7E1D}" srcOrd="0" destOrd="0" presId="urn:microsoft.com/office/officeart/2005/8/layout/cycle2"/>
    <dgm:cxn modelId="{FA770972-ADC3-4EDB-9FFC-65F004BC4E6E}" srcId="{60985DB5-8D67-47FB-9A44-C32748356B78}" destId="{0CC42A62-00EA-4CD1-84CF-08A02D37F44D}" srcOrd="0" destOrd="0" parTransId="{4B258324-19C9-408C-AAEF-A9C6D1B2949C}" sibTransId="{9A0CBCE6-0BE7-4531-975C-CDE2EC3B2ECD}"/>
    <dgm:cxn modelId="{3263117D-48D0-48E5-8CEA-B77A8847B0E3}" type="presOf" srcId="{D14BAB0D-B6D8-40F5-BC66-F0143657CD5A}" destId="{2369B40D-005E-4D53-8484-0069DCE3FB60}" srcOrd="0" destOrd="0" presId="urn:microsoft.com/office/officeart/2005/8/layout/cycle2"/>
    <dgm:cxn modelId="{D982198D-EF9B-403D-B694-C34CCFD6C872}" type="presOf" srcId="{1B313566-0561-4C25-9548-7F87EA795C50}" destId="{77C92CAF-3A57-463E-80AB-03AF55017691}" srcOrd="0" destOrd="0" presId="urn:microsoft.com/office/officeart/2005/8/layout/cycle2"/>
    <dgm:cxn modelId="{5FE11A8F-7A81-47D6-BD4D-388BB8650C89}" srcId="{60985DB5-8D67-47FB-9A44-C32748356B78}" destId="{3DBF96BC-2914-41AC-A701-B157F592646B}" srcOrd="1" destOrd="0" parTransId="{1A647B6D-5452-4FEA-9F9D-22BE2BCF1553}" sibTransId="{268764EF-8B4A-4CEF-A753-A1F7E935F9D0}"/>
    <dgm:cxn modelId="{527A2893-0BF5-4E17-B922-995FEDD2AC36}" type="presOf" srcId="{268764EF-8B4A-4CEF-A753-A1F7E935F9D0}" destId="{92B2FBFB-2DB8-4B82-B1BA-A06E41DB9FD9}" srcOrd="1" destOrd="0" presId="urn:microsoft.com/office/officeart/2005/8/layout/cycle2"/>
    <dgm:cxn modelId="{88BC3F95-D617-4598-85B9-B5C2D9AB263C}" srcId="{60985DB5-8D67-47FB-9A44-C32748356B78}" destId="{A16F0C1D-BAE9-4D65-BE82-ADC5D6FCB8A0}" srcOrd="4" destOrd="0" parTransId="{28A5C4E1-C842-44F1-A9CE-9A07E8DFC553}" sibTransId="{681904E1-9BFB-4E08-8856-830F0BC51E4B}"/>
    <dgm:cxn modelId="{ECD1A6AE-7034-43D7-BF08-6273BF103DBA}" type="presOf" srcId="{16300D79-753E-4710-ABC4-5D5369A43C1C}" destId="{3C1D2109-61F7-4B3F-AB56-6381A74264D6}" srcOrd="0" destOrd="0" presId="urn:microsoft.com/office/officeart/2005/8/layout/cycle2"/>
    <dgm:cxn modelId="{74D5F8AE-E017-4F36-B023-C8CBD86D733B}" type="presOf" srcId="{FC8866D5-C71E-4A15-A679-3D8A95D7A462}" destId="{F1A87F87-4D87-45D1-9DB7-3DFB8573593E}" srcOrd="0" destOrd="0" presId="urn:microsoft.com/office/officeart/2005/8/layout/cycle2"/>
    <dgm:cxn modelId="{C595FABD-C0E8-4A2E-8891-5DB4DAEB1E77}" type="presOf" srcId="{231E113B-3873-4258-B232-439E4997960D}" destId="{CF8F641B-76F7-47E3-95FE-EB1215175080}" srcOrd="0" destOrd="0" presId="urn:microsoft.com/office/officeart/2005/8/layout/cycle2"/>
    <dgm:cxn modelId="{C8DE38C6-010C-4341-B5D2-61BEA971D478}" type="presOf" srcId="{60985DB5-8D67-47FB-9A44-C32748356B78}" destId="{66AFDEEA-90DC-4C7C-BC8F-F13855DD7B22}" srcOrd="0" destOrd="0" presId="urn:microsoft.com/office/officeart/2005/8/layout/cycle2"/>
    <dgm:cxn modelId="{DF1D37CA-9CFF-4020-A84D-09AB8592864E}" type="presOf" srcId="{9A0CBCE6-0BE7-4531-975C-CDE2EC3B2ECD}" destId="{75EBFEB2-F8F8-4AAE-9D64-8D774B3D097C}" srcOrd="1" destOrd="0" presId="urn:microsoft.com/office/officeart/2005/8/layout/cycle2"/>
    <dgm:cxn modelId="{A3DE1ED0-7651-4B6E-89FA-A12B4DAD6134}" type="presOf" srcId="{681904E1-9BFB-4E08-8856-830F0BC51E4B}" destId="{AF24163F-6081-450A-89A4-9F34B70CE41F}" srcOrd="1" destOrd="0" presId="urn:microsoft.com/office/officeart/2005/8/layout/cycle2"/>
    <dgm:cxn modelId="{7084A3D0-7456-4EA4-B013-24A38856A1FA}" type="presOf" srcId="{7C811FF1-F795-462F-9440-43EEF9544BF5}" destId="{3753025E-1673-4E9A-AA84-76A19B549A65}" srcOrd="0" destOrd="0" presId="urn:microsoft.com/office/officeart/2005/8/layout/cycle2"/>
    <dgm:cxn modelId="{260326D4-4BB5-473E-A638-FA25D6607ACA}" type="presOf" srcId="{17080627-1287-42B0-8575-FC472F00B276}" destId="{46DA1563-7CA0-4EDE-B23E-C0B42EEA699A}" srcOrd="1" destOrd="0" presId="urn:microsoft.com/office/officeart/2005/8/layout/cycle2"/>
    <dgm:cxn modelId="{433949ED-05B2-443F-AAAE-0D142E8E444E}" type="presOf" srcId="{17080627-1287-42B0-8575-FC472F00B276}" destId="{72951F6F-58D4-4269-8BB4-D7801500AD54}" srcOrd="0" destOrd="0" presId="urn:microsoft.com/office/officeart/2005/8/layout/cycle2"/>
    <dgm:cxn modelId="{B5E141F9-FF97-4F1F-92C3-8AA3C0D1321D}" srcId="{60985DB5-8D67-47FB-9A44-C32748356B78}" destId="{16300D79-753E-4710-ABC4-5D5369A43C1C}" srcOrd="5" destOrd="0" parTransId="{4BF342F0-19CF-45E1-B72B-1771BE08C58C}" sibTransId="{D14BAB0D-B6D8-40F5-BC66-F0143657CD5A}"/>
    <dgm:cxn modelId="{1D489DFF-8823-4767-B239-4A075E4733CA}" type="presOf" srcId="{268764EF-8B4A-4CEF-A753-A1F7E935F9D0}" destId="{9B710F5D-704C-4921-9EB5-548E96343480}" srcOrd="0" destOrd="0" presId="urn:microsoft.com/office/officeart/2005/8/layout/cycle2"/>
    <dgm:cxn modelId="{81BC4196-B364-4D7D-8791-7A00E72BDCA1}" type="presParOf" srcId="{66AFDEEA-90DC-4C7C-BC8F-F13855DD7B22}" destId="{E546B726-A30B-428D-8100-016859C5720C}" srcOrd="0" destOrd="0" presId="urn:microsoft.com/office/officeart/2005/8/layout/cycle2"/>
    <dgm:cxn modelId="{D7C27120-2622-40B5-9BFC-4183CE4D81D7}" type="presParOf" srcId="{66AFDEEA-90DC-4C7C-BC8F-F13855DD7B22}" destId="{D0C2D00E-1C45-462B-9ED9-86F1E317BADC}" srcOrd="1" destOrd="0" presId="urn:microsoft.com/office/officeart/2005/8/layout/cycle2"/>
    <dgm:cxn modelId="{26E2114F-277C-4C96-9D5E-AC01BBD26FCE}" type="presParOf" srcId="{D0C2D00E-1C45-462B-9ED9-86F1E317BADC}" destId="{75EBFEB2-F8F8-4AAE-9D64-8D774B3D097C}" srcOrd="0" destOrd="0" presId="urn:microsoft.com/office/officeart/2005/8/layout/cycle2"/>
    <dgm:cxn modelId="{A2AEB22F-9DB9-4F5E-A9D7-6F46571666DB}" type="presParOf" srcId="{66AFDEEA-90DC-4C7C-BC8F-F13855DD7B22}" destId="{08D3D4D9-66D9-4941-8136-5B5C573901C3}" srcOrd="2" destOrd="0" presId="urn:microsoft.com/office/officeart/2005/8/layout/cycle2"/>
    <dgm:cxn modelId="{97122D82-06C4-4BB3-903D-81BE8FA82214}" type="presParOf" srcId="{66AFDEEA-90DC-4C7C-BC8F-F13855DD7B22}" destId="{9B710F5D-704C-4921-9EB5-548E96343480}" srcOrd="3" destOrd="0" presId="urn:microsoft.com/office/officeart/2005/8/layout/cycle2"/>
    <dgm:cxn modelId="{44067BBE-F9A4-42D4-9358-B62D69F69D0E}" type="presParOf" srcId="{9B710F5D-704C-4921-9EB5-548E96343480}" destId="{92B2FBFB-2DB8-4B82-B1BA-A06E41DB9FD9}" srcOrd="0" destOrd="0" presId="urn:microsoft.com/office/officeart/2005/8/layout/cycle2"/>
    <dgm:cxn modelId="{0CE48382-E0F7-4994-9056-56160CF1787F}" type="presParOf" srcId="{66AFDEEA-90DC-4C7C-BC8F-F13855DD7B22}" destId="{ACFD2A2C-628C-47CE-A222-007FF1726BBF}" srcOrd="4" destOrd="0" presId="urn:microsoft.com/office/officeart/2005/8/layout/cycle2"/>
    <dgm:cxn modelId="{34686F32-4A9F-4E03-8F34-A65013A723C2}" type="presParOf" srcId="{66AFDEEA-90DC-4C7C-BC8F-F13855DD7B22}" destId="{CF8F641B-76F7-47E3-95FE-EB1215175080}" srcOrd="5" destOrd="0" presId="urn:microsoft.com/office/officeart/2005/8/layout/cycle2"/>
    <dgm:cxn modelId="{8E555E5C-0FF2-45A5-9A00-3889769EB1E4}" type="presParOf" srcId="{CF8F641B-76F7-47E3-95FE-EB1215175080}" destId="{01276967-0318-449C-9AEE-FECA7016182A}" srcOrd="0" destOrd="0" presId="urn:microsoft.com/office/officeart/2005/8/layout/cycle2"/>
    <dgm:cxn modelId="{B6579B84-6DE3-4111-B673-F2F0F04E1CDE}" type="presParOf" srcId="{66AFDEEA-90DC-4C7C-BC8F-F13855DD7B22}" destId="{F1A87F87-4D87-45D1-9DB7-3DFB8573593E}" srcOrd="6" destOrd="0" presId="urn:microsoft.com/office/officeart/2005/8/layout/cycle2"/>
    <dgm:cxn modelId="{3B531960-6CB6-4CF5-B5BA-989D729A207D}" type="presParOf" srcId="{66AFDEEA-90DC-4C7C-BC8F-F13855DD7B22}" destId="{72951F6F-58D4-4269-8BB4-D7801500AD54}" srcOrd="7" destOrd="0" presId="urn:microsoft.com/office/officeart/2005/8/layout/cycle2"/>
    <dgm:cxn modelId="{2928C294-D31A-42D3-9A3F-1293C99FDC80}" type="presParOf" srcId="{72951F6F-58D4-4269-8BB4-D7801500AD54}" destId="{46DA1563-7CA0-4EDE-B23E-C0B42EEA699A}" srcOrd="0" destOrd="0" presId="urn:microsoft.com/office/officeart/2005/8/layout/cycle2"/>
    <dgm:cxn modelId="{FBD7C03B-2398-4CBD-A50A-28977253FFA0}" type="presParOf" srcId="{66AFDEEA-90DC-4C7C-BC8F-F13855DD7B22}" destId="{67818648-4A2C-4156-9AB8-0967F56D7E1D}" srcOrd="8" destOrd="0" presId="urn:microsoft.com/office/officeart/2005/8/layout/cycle2"/>
    <dgm:cxn modelId="{59692D37-21F1-4FB0-8417-E9813ABDA931}" type="presParOf" srcId="{66AFDEEA-90DC-4C7C-BC8F-F13855DD7B22}" destId="{752A8DAA-9C2D-45E3-91E3-0D9590B4B5D7}" srcOrd="9" destOrd="0" presId="urn:microsoft.com/office/officeart/2005/8/layout/cycle2"/>
    <dgm:cxn modelId="{F2D0B23B-A45F-4DE8-959D-1457954659EB}" type="presParOf" srcId="{752A8DAA-9C2D-45E3-91E3-0D9590B4B5D7}" destId="{AF24163F-6081-450A-89A4-9F34B70CE41F}" srcOrd="0" destOrd="0" presId="urn:microsoft.com/office/officeart/2005/8/layout/cycle2"/>
    <dgm:cxn modelId="{F9A969A7-F0D6-4F3F-B70C-B35C56663A23}" type="presParOf" srcId="{66AFDEEA-90DC-4C7C-BC8F-F13855DD7B22}" destId="{3C1D2109-61F7-4B3F-AB56-6381A74264D6}" srcOrd="10" destOrd="0" presId="urn:microsoft.com/office/officeart/2005/8/layout/cycle2"/>
    <dgm:cxn modelId="{C442D9E5-A282-499B-A84F-8F8AA357439B}" type="presParOf" srcId="{66AFDEEA-90DC-4C7C-BC8F-F13855DD7B22}" destId="{2369B40D-005E-4D53-8484-0069DCE3FB60}" srcOrd="11" destOrd="0" presId="urn:microsoft.com/office/officeart/2005/8/layout/cycle2"/>
    <dgm:cxn modelId="{2961CA52-20DD-49D9-85DC-3EAD8BC4F62E}" type="presParOf" srcId="{2369B40D-005E-4D53-8484-0069DCE3FB60}" destId="{2BFC3066-A8C0-47E8-80F9-F015DD4DF70D}" srcOrd="0" destOrd="0" presId="urn:microsoft.com/office/officeart/2005/8/layout/cycle2"/>
    <dgm:cxn modelId="{644504A9-83E7-4878-89AB-184670DA36F6}" type="presParOf" srcId="{66AFDEEA-90DC-4C7C-BC8F-F13855DD7B22}" destId="{24446683-0E6F-494C-A6E7-16C2448A6321}" srcOrd="12" destOrd="0" presId="urn:microsoft.com/office/officeart/2005/8/layout/cycle2"/>
    <dgm:cxn modelId="{D643E569-36B9-43FC-9ED9-5A74F2B7FF7B}" type="presParOf" srcId="{66AFDEEA-90DC-4C7C-BC8F-F13855DD7B22}" destId="{77C92CAF-3A57-463E-80AB-03AF55017691}" srcOrd="13" destOrd="0" presId="urn:microsoft.com/office/officeart/2005/8/layout/cycle2"/>
    <dgm:cxn modelId="{7CFEC28B-1494-47D6-9A75-C7440C3F9BEB}" type="presParOf" srcId="{77C92CAF-3A57-463E-80AB-03AF55017691}" destId="{5BA9E603-F5A8-4CC0-9452-576CD2744840}" srcOrd="0" destOrd="0" presId="urn:microsoft.com/office/officeart/2005/8/layout/cycle2"/>
    <dgm:cxn modelId="{AE917D69-A65E-48D1-9533-02D8DAF5302B}" type="presParOf" srcId="{66AFDEEA-90DC-4C7C-BC8F-F13855DD7B22}" destId="{3753025E-1673-4E9A-AA84-76A19B549A65}" srcOrd="14" destOrd="0" presId="urn:microsoft.com/office/officeart/2005/8/layout/cycle2"/>
    <dgm:cxn modelId="{32231859-10AA-4A34-9424-1A49AFEC9C57}" type="presParOf" srcId="{66AFDEEA-90DC-4C7C-BC8F-F13855DD7B22}" destId="{28911FC2-36E8-4621-8B33-AEC807A1B691}" srcOrd="15" destOrd="0" presId="urn:microsoft.com/office/officeart/2005/8/layout/cycle2"/>
    <dgm:cxn modelId="{B63AA8A7-CA33-416C-B137-17153A525A47}" type="presParOf" srcId="{28911FC2-36E8-4621-8B33-AEC807A1B691}" destId="{AC3539FE-BBB0-4224-8A5C-D1A009180C11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46B726-A30B-428D-8100-016859C5720C}">
      <dsp:nvSpPr>
        <dsp:cNvPr id="0" name=""/>
        <dsp:cNvSpPr/>
      </dsp:nvSpPr>
      <dsp:spPr>
        <a:xfrm>
          <a:off x="2200873" y="1072"/>
          <a:ext cx="624613" cy="624613"/>
        </a:xfrm>
        <a:prstGeom prst="ellipse">
          <a:avLst/>
        </a:prstGeom>
        <a:solidFill>
          <a:schemeClr val="bg1"/>
        </a:solidFill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 dirty="0"/>
        </a:p>
      </dsp:txBody>
      <dsp:txXfrm>
        <a:off x="2292345" y="92544"/>
        <a:ext cx="441669" cy="441669"/>
      </dsp:txXfrm>
    </dsp:sp>
    <dsp:sp modelId="{D0C2D00E-1C45-462B-9ED9-86F1E317BADC}">
      <dsp:nvSpPr>
        <dsp:cNvPr id="0" name=""/>
        <dsp:cNvSpPr/>
      </dsp:nvSpPr>
      <dsp:spPr>
        <a:xfrm rot="1350000">
          <a:off x="2859110" y="385676"/>
          <a:ext cx="166153" cy="210807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50000"/>
          </a:schemeClr>
        </a:solidFill>
        <a:ln>
          <a:solidFill>
            <a:schemeClr val="bg2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2861007" y="418299"/>
        <a:ext cx="116307" cy="126485"/>
      </dsp:txXfrm>
    </dsp:sp>
    <dsp:sp modelId="{08D3D4D9-66D9-4941-8136-5B5C573901C3}">
      <dsp:nvSpPr>
        <dsp:cNvPr id="0" name=""/>
        <dsp:cNvSpPr/>
      </dsp:nvSpPr>
      <dsp:spPr>
        <a:xfrm>
          <a:off x="3067575" y="360072"/>
          <a:ext cx="624613" cy="62461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 dirty="0">
            <a:solidFill>
              <a:schemeClr val="accent3"/>
            </a:solidFill>
          </a:endParaRPr>
        </a:p>
      </dsp:txBody>
      <dsp:txXfrm>
        <a:off x="3159047" y="451544"/>
        <a:ext cx="441669" cy="441669"/>
      </dsp:txXfrm>
    </dsp:sp>
    <dsp:sp modelId="{9B710F5D-704C-4921-9EB5-548E96343480}">
      <dsp:nvSpPr>
        <dsp:cNvPr id="0" name=""/>
        <dsp:cNvSpPr/>
      </dsp:nvSpPr>
      <dsp:spPr>
        <a:xfrm rot="4050000">
          <a:off x="3474505" y="995982"/>
          <a:ext cx="166153" cy="2108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3489890" y="1015117"/>
        <a:ext cx="116307" cy="126485"/>
      </dsp:txXfrm>
    </dsp:sp>
    <dsp:sp modelId="{ACFD2A2C-628C-47CE-A222-007FF1726BBF}">
      <dsp:nvSpPr>
        <dsp:cNvPr id="0" name=""/>
        <dsp:cNvSpPr/>
      </dsp:nvSpPr>
      <dsp:spPr>
        <a:xfrm>
          <a:off x="3426574" y="1226774"/>
          <a:ext cx="624613" cy="624613"/>
        </a:xfrm>
        <a:prstGeom prst="ellipse">
          <a:avLst/>
        </a:prstGeom>
        <a:solidFill>
          <a:schemeClr val="bg1"/>
        </a:solidFill>
        <a:ln w="25400" cap="flat" cmpd="sng" algn="ctr">
          <a:solidFill>
            <a:schemeClr val="accent4"/>
          </a:solidFill>
          <a:prstDash val="solid"/>
        </a:ln>
        <a:effectLst/>
      </dsp:spPr>
      <dsp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 dirty="0"/>
        </a:p>
      </dsp:txBody>
      <dsp:txXfrm>
        <a:off x="3518046" y="1318246"/>
        <a:ext cx="441669" cy="441669"/>
      </dsp:txXfrm>
    </dsp:sp>
    <dsp:sp modelId="{CF8F641B-76F7-47E3-95FE-EB1215175080}">
      <dsp:nvSpPr>
        <dsp:cNvPr id="0" name=""/>
        <dsp:cNvSpPr/>
      </dsp:nvSpPr>
      <dsp:spPr>
        <a:xfrm rot="6750000">
          <a:off x="3478104" y="1862683"/>
          <a:ext cx="166153" cy="2108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 rot="10800000">
        <a:off x="3512565" y="1881818"/>
        <a:ext cx="116307" cy="126485"/>
      </dsp:txXfrm>
    </dsp:sp>
    <dsp:sp modelId="{F1A87F87-4D87-45D1-9DB7-3DFB8573593E}">
      <dsp:nvSpPr>
        <dsp:cNvPr id="0" name=""/>
        <dsp:cNvSpPr/>
      </dsp:nvSpPr>
      <dsp:spPr>
        <a:xfrm>
          <a:off x="3067575" y="2093475"/>
          <a:ext cx="624613" cy="624613"/>
        </a:xfrm>
        <a:prstGeom prst="ellipse">
          <a:avLst/>
        </a:prstGeom>
        <a:solidFill>
          <a:schemeClr val="bg1"/>
        </a:solidFill>
        <a:ln w="25400" cap="flat" cmpd="sng" algn="ctr">
          <a:solidFill>
            <a:schemeClr val="accent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 dirty="0"/>
        </a:p>
      </dsp:txBody>
      <dsp:txXfrm>
        <a:off x="3159047" y="2184947"/>
        <a:ext cx="441669" cy="441669"/>
      </dsp:txXfrm>
    </dsp:sp>
    <dsp:sp modelId="{72951F6F-58D4-4269-8BB4-D7801500AD54}">
      <dsp:nvSpPr>
        <dsp:cNvPr id="0" name=""/>
        <dsp:cNvSpPr/>
      </dsp:nvSpPr>
      <dsp:spPr>
        <a:xfrm rot="9450000">
          <a:off x="2867799" y="2478079"/>
          <a:ext cx="166153" cy="2108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/>
        </a:solidFill>
        <a:ln>
          <a:solidFill>
            <a:schemeClr val="accent3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 rot="10800000">
        <a:off x="2915748" y="2510702"/>
        <a:ext cx="116307" cy="126485"/>
      </dsp:txXfrm>
    </dsp:sp>
    <dsp:sp modelId="{67818648-4A2C-4156-9AB8-0967F56D7E1D}">
      <dsp:nvSpPr>
        <dsp:cNvPr id="0" name=""/>
        <dsp:cNvSpPr/>
      </dsp:nvSpPr>
      <dsp:spPr>
        <a:xfrm>
          <a:off x="2200873" y="2452475"/>
          <a:ext cx="624613" cy="624613"/>
        </a:xfrm>
        <a:prstGeom prst="ellipse">
          <a:avLst/>
        </a:prstGeom>
        <a:solidFill>
          <a:schemeClr val="bg1"/>
        </a:solidFill>
        <a:ln w="25400" cap="flat" cmpd="sng" algn="ctr">
          <a:solidFill>
            <a:schemeClr val="accent6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 dirty="0"/>
        </a:p>
      </dsp:txBody>
      <dsp:txXfrm>
        <a:off x="2292345" y="2543947"/>
        <a:ext cx="441669" cy="441669"/>
      </dsp:txXfrm>
    </dsp:sp>
    <dsp:sp modelId="{752A8DAA-9C2D-45E3-91E3-0D9590B4B5D7}">
      <dsp:nvSpPr>
        <dsp:cNvPr id="0" name=""/>
        <dsp:cNvSpPr/>
      </dsp:nvSpPr>
      <dsp:spPr>
        <a:xfrm rot="12150000">
          <a:off x="2001097" y="2481678"/>
          <a:ext cx="166153" cy="2108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 rot="10800000">
        <a:off x="2049046" y="2533377"/>
        <a:ext cx="116307" cy="126485"/>
      </dsp:txXfrm>
    </dsp:sp>
    <dsp:sp modelId="{3C1D2109-61F7-4B3F-AB56-6381A74264D6}">
      <dsp:nvSpPr>
        <dsp:cNvPr id="0" name=""/>
        <dsp:cNvSpPr/>
      </dsp:nvSpPr>
      <dsp:spPr>
        <a:xfrm>
          <a:off x="1334171" y="2093475"/>
          <a:ext cx="624613" cy="624613"/>
        </a:xfrm>
        <a:prstGeom prst="ellipse">
          <a:avLst/>
        </a:prstGeom>
        <a:solidFill>
          <a:schemeClr val="bg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 dirty="0"/>
        </a:p>
      </dsp:txBody>
      <dsp:txXfrm>
        <a:off x="1425643" y="2184947"/>
        <a:ext cx="441669" cy="441669"/>
      </dsp:txXfrm>
    </dsp:sp>
    <dsp:sp modelId="{2369B40D-005E-4D53-8484-0069DCE3FB60}">
      <dsp:nvSpPr>
        <dsp:cNvPr id="0" name=""/>
        <dsp:cNvSpPr/>
      </dsp:nvSpPr>
      <dsp:spPr>
        <a:xfrm rot="14850000">
          <a:off x="1385701" y="1871372"/>
          <a:ext cx="166153" cy="2108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 rot="10800000">
        <a:off x="1420162" y="1936559"/>
        <a:ext cx="116307" cy="126485"/>
      </dsp:txXfrm>
    </dsp:sp>
    <dsp:sp modelId="{24446683-0E6F-494C-A6E7-16C2448A6321}">
      <dsp:nvSpPr>
        <dsp:cNvPr id="0" name=""/>
        <dsp:cNvSpPr/>
      </dsp:nvSpPr>
      <dsp:spPr>
        <a:xfrm>
          <a:off x="975172" y="1226774"/>
          <a:ext cx="624613" cy="624613"/>
        </a:xfrm>
        <a:prstGeom prst="ellipse">
          <a:avLst/>
        </a:prstGeom>
        <a:solidFill>
          <a:schemeClr val="bg1"/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 dirty="0"/>
        </a:p>
      </dsp:txBody>
      <dsp:txXfrm>
        <a:off x="1066644" y="1318246"/>
        <a:ext cx="441669" cy="441669"/>
      </dsp:txXfrm>
    </dsp:sp>
    <dsp:sp modelId="{77C92CAF-3A57-463E-80AB-03AF55017691}">
      <dsp:nvSpPr>
        <dsp:cNvPr id="0" name=""/>
        <dsp:cNvSpPr/>
      </dsp:nvSpPr>
      <dsp:spPr>
        <a:xfrm rot="17550000">
          <a:off x="1382102" y="1004671"/>
          <a:ext cx="166153" cy="210807"/>
        </a:xfrm>
        <a:prstGeom prst="rightArrow">
          <a:avLst>
            <a:gd name="adj1" fmla="val 60000"/>
            <a:gd name="adj2" fmla="val 50000"/>
          </a:avLst>
        </a:prstGeom>
        <a:solidFill>
          <a:schemeClr val="tx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1397487" y="1069858"/>
        <a:ext cx="116307" cy="126485"/>
      </dsp:txXfrm>
    </dsp:sp>
    <dsp:sp modelId="{3753025E-1673-4E9A-AA84-76A19B549A65}">
      <dsp:nvSpPr>
        <dsp:cNvPr id="0" name=""/>
        <dsp:cNvSpPr/>
      </dsp:nvSpPr>
      <dsp:spPr>
        <a:xfrm>
          <a:off x="1334171" y="360072"/>
          <a:ext cx="624613" cy="62461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/>
        </a:p>
      </dsp:txBody>
      <dsp:txXfrm>
        <a:off x="1425643" y="451544"/>
        <a:ext cx="441669" cy="441669"/>
      </dsp:txXfrm>
    </dsp:sp>
    <dsp:sp modelId="{28911FC2-36E8-4621-8B33-AEC807A1B691}">
      <dsp:nvSpPr>
        <dsp:cNvPr id="0" name=""/>
        <dsp:cNvSpPr/>
      </dsp:nvSpPr>
      <dsp:spPr>
        <a:xfrm rot="20250000">
          <a:off x="1992408" y="389275"/>
          <a:ext cx="166153" cy="2108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1994305" y="440974"/>
        <a:ext cx="116307" cy="12648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5D2418-5498-496B-9B3E-912B9D6443B9}" type="datetimeFigureOut">
              <a:rPr lang="en-US" smtClean="0"/>
              <a:pPr/>
              <a:t>7/2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DA5EBE-E194-4A8A-BBBE-6B90DE9885F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701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7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7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7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6.xml"/><Relationship Id="rId7" Type="http://schemas.openxmlformats.org/officeDocument/2006/relationships/image" Target="../media/image7.emf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9.xml"/><Relationship Id="rId7" Type="http://schemas.openxmlformats.org/officeDocument/2006/relationships/image" Target="../media/image7.emf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0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2.xml"/><Relationship Id="rId7" Type="http://schemas.openxmlformats.org/officeDocument/2006/relationships/image" Target="../media/image7.emf"/><Relationship Id="rId2" Type="http://schemas.openxmlformats.org/officeDocument/2006/relationships/tags" Target="../tags/tag21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5.xml"/><Relationship Id="rId7" Type="http://schemas.openxmlformats.org/officeDocument/2006/relationships/image" Target="../media/image7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8.xml"/><Relationship Id="rId7" Type="http://schemas.openxmlformats.org/officeDocument/2006/relationships/image" Target="../media/image7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9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1.xml"/><Relationship Id="rId7" Type="http://schemas.openxmlformats.org/officeDocument/2006/relationships/image" Target="../media/image7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2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34.xml"/><Relationship Id="rId7" Type="http://schemas.openxmlformats.org/officeDocument/2006/relationships/image" Target="../media/image7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5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37.xml"/><Relationship Id="rId7" Type="http://schemas.openxmlformats.org/officeDocument/2006/relationships/image" Target="../media/image12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8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40.xml"/><Relationship Id="rId7" Type="http://schemas.openxmlformats.org/officeDocument/2006/relationships/image" Target="../media/image7.emf"/><Relationship Id="rId2" Type="http://schemas.openxmlformats.org/officeDocument/2006/relationships/tags" Target="../tags/tag3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3.xml"/><Relationship Id="rId7" Type="http://schemas.openxmlformats.org/officeDocument/2006/relationships/image" Target="../media/image7.emf"/><Relationship Id="rId2" Type="http://schemas.openxmlformats.org/officeDocument/2006/relationships/tags" Target="../tags/tag4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4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46.xml"/><Relationship Id="rId7" Type="http://schemas.openxmlformats.org/officeDocument/2006/relationships/image" Target="../media/image7.emf"/><Relationship Id="rId2" Type="http://schemas.openxmlformats.org/officeDocument/2006/relationships/tags" Target="../tags/tag45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7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9.xml"/><Relationship Id="rId7" Type="http://schemas.openxmlformats.org/officeDocument/2006/relationships/image" Target="../media/image7.emf"/><Relationship Id="rId2" Type="http://schemas.openxmlformats.org/officeDocument/2006/relationships/tags" Target="../tags/tag48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0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52.xml"/><Relationship Id="rId7" Type="http://schemas.openxmlformats.org/officeDocument/2006/relationships/image" Target="../media/image7.emf"/><Relationship Id="rId2" Type="http://schemas.openxmlformats.org/officeDocument/2006/relationships/tags" Target="../tags/tag51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emf"/><Relationship Id="rId2" Type="http://schemas.openxmlformats.org/officeDocument/2006/relationships/tags" Target="../tags/tag54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7.emf"/><Relationship Id="rId2" Type="http://schemas.openxmlformats.org/officeDocument/2006/relationships/tags" Target="../tags/tag57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9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7.emf"/><Relationship Id="rId2" Type="http://schemas.openxmlformats.org/officeDocument/2006/relationships/tags" Target="../tags/tag61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7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tags" Target="../tags/tag74.xml"/><Relationship Id="rId7" Type="http://schemas.openxmlformats.org/officeDocument/2006/relationships/image" Target="../media/image8.png"/><Relationship Id="rId2" Type="http://schemas.openxmlformats.org/officeDocument/2006/relationships/tags" Target="../tags/tag73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7.emf"/><Relationship Id="rId2" Type="http://schemas.openxmlformats.org/officeDocument/2006/relationships/tags" Target="../tags/tag75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7.emf"/><Relationship Id="rId2" Type="http://schemas.openxmlformats.org/officeDocument/2006/relationships/tags" Target="../tags/tag78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0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7.emf"/><Relationship Id="rId2" Type="http://schemas.openxmlformats.org/officeDocument/2006/relationships/tags" Target="../tags/tag81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87.xml"/><Relationship Id="rId7" Type="http://schemas.openxmlformats.org/officeDocument/2006/relationships/image" Target="../media/image7.emf"/><Relationship Id="rId2" Type="http://schemas.openxmlformats.org/officeDocument/2006/relationships/tags" Target="../tags/tag86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8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0.xml"/><Relationship Id="rId7" Type="http://schemas.openxmlformats.org/officeDocument/2006/relationships/image" Target="../media/image7.emf"/><Relationship Id="rId2" Type="http://schemas.openxmlformats.org/officeDocument/2006/relationships/tags" Target="../tags/tag89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1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3.xml"/><Relationship Id="rId7" Type="http://schemas.openxmlformats.org/officeDocument/2006/relationships/image" Target="../media/image7.emf"/><Relationship Id="rId2" Type="http://schemas.openxmlformats.org/officeDocument/2006/relationships/tags" Target="../tags/tag92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4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6.xml"/><Relationship Id="rId7" Type="http://schemas.openxmlformats.org/officeDocument/2006/relationships/image" Target="../media/image7.emf"/><Relationship Id="rId2" Type="http://schemas.openxmlformats.org/officeDocument/2006/relationships/tags" Target="../tags/tag95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7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9.xml"/><Relationship Id="rId7" Type="http://schemas.openxmlformats.org/officeDocument/2006/relationships/image" Target="../media/image7.emf"/><Relationship Id="rId2" Type="http://schemas.openxmlformats.org/officeDocument/2006/relationships/tags" Target="../tags/tag98.xml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3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0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02.xml"/><Relationship Id="rId7" Type="http://schemas.openxmlformats.org/officeDocument/2006/relationships/image" Target="../media/image7.emf"/><Relationship Id="rId2" Type="http://schemas.openxmlformats.org/officeDocument/2006/relationships/tags" Target="../tags/tag101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3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05.xml"/><Relationship Id="rId7" Type="http://schemas.openxmlformats.org/officeDocument/2006/relationships/image" Target="../media/image12.emf"/><Relationship Id="rId2" Type="http://schemas.openxmlformats.org/officeDocument/2006/relationships/tags" Target="../tags/tag104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4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08.xml"/><Relationship Id="rId7" Type="http://schemas.openxmlformats.org/officeDocument/2006/relationships/image" Target="../media/image7.emf"/><Relationship Id="rId2" Type="http://schemas.openxmlformats.org/officeDocument/2006/relationships/tags" Target="../tags/tag107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4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9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11.xml"/><Relationship Id="rId7" Type="http://schemas.openxmlformats.org/officeDocument/2006/relationships/image" Target="../media/image7.emf"/><Relationship Id="rId2" Type="http://schemas.openxmlformats.org/officeDocument/2006/relationships/tags" Target="../tags/tag110.xml"/><Relationship Id="rId1" Type="http://schemas.openxmlformats.org/officeDocument/2006/relationships/vmlDrawing" Target="../drawings/vmlDrawing42.vml"/><Relationship Id="rId6" Type="http://schemas.openxmlformats.org/officeDocument/2006/relationships/oleObject" Target="../embeddings/oleObject4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2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14.xml"/><Relationship Id="rId7" Type="http://schemas.openxmlformats.org/officeDocument/2006/relationships/image" Target="../media/image7.emf"/><Relationship Id="rId2" Type="http://schemas.openxmlformats.org/officeDocument/2006/relationships/tags" Target="../tags/tag113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4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5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17.xml"/><Relationship Id="rId7" Type="http://schemas.openxmlformats.org/officeDocument/2006/relationships/image" Target="../media/image7.emf"/><Relationship Id="rId2" Type="http://schemas.openxmlformats.org/officeDocument/2006/relationships/tags" Target="../tags/tag116.xml"/><Relationship Id="rId1" Type="http://schemas.openxmlformats.org/officeDocument/2006/relationships/vmlDrawing" Target="../drawings/vmlDrawing44.vml"/><Relationship Id="rId6" Type="http://schemas.openxmlformats.org/officeDocument/2006/relationships/oleObject" Target="../embeddings/oleObject4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8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20.xml"/><Relationship Id="rId7" Type="http://schemas.openxmlformats.org/officeDocument/2006/relationships/image" Target="../media/image7.emf"/><Relationship Id="rId2" Type="http://schemas.openxmlformats.org/officeDocument/2006/relationships/tags" Target="../tags/tag119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4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7" Type="http://schemas.openxmlformats.org/officeDocument/2006/relationships/image" Target="../media/image7.emf"/><Relationship Id="rId2" Type="http://schemas.openxmlformats.org/officeDocument/2006/relationships/tags" Target="../tags/tag122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4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4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26.xml"/><Relationship Id="rId7" Type="http://schemas.openxmlformats.org/officeDocument/2006/relationships/image" Target="../media/image7.emf"/><Relationship Id="rId2" Type="http://schemas.openxmlformats.org/officeDocument/2006/relationships/tags" Target="../tags/tag125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4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7" Type="http://schemas.openxmlformats.org/officeDocument/2006/relationships/image" Target="../media/image7.emf"/><Relationship Id="rId2" Type="http://schemas.openxmlformats.org/officeDocument/2006/relationships/tags" Target="../tags/tag128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4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0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7" Type="http://schemas.openxmlformats.org/officeDocument/2006/relationships/image" Target="../media/image7.emf"/><Relationship Id="rId2" Type="http://schemas.openxmlformats.org/officeDocument/2006/relationships/tags" Target="../tags/tag131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4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9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50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7" Type="http://schemas.openxmlformats.org/officeDocument/2006/relationships/image" Target="../media/image7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51.vml"/><Relationship Id="rId6" Type="http://schemas.openxmlformats.org/officeDocument/2006/relationships/oleObject" Target="../embeddings/oleObject5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image" Target="../media/image10.png"/><Relationship Id="rId2" Type="http://schemas.openxmlformats.org/officeDocument/2006/relationships/tags" Target="../tags/tag138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47.xml"/><Relationship Id="rId7" Type="http://schemas.openxmlformats.org/officeDocument/2006/relationships/image" Target="../media/image14.png"/><Relationship Id="rId2" Type="http://schemas.openxmlformats.org/officeDocument/2006/relationships/tags" Target="../tags/tag146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6.bin"/><Relationship Id="rId10" Type="http://schemas.openxmlformats.org/officeDocument/2006/relationships/image" Target="../media/image16.jp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8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9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0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7" Type="http://schemas.openxmlformats.org/officeDocument/2006/relationships/image" Target="../media/image9.png"/><Relationship Id="rId2" Type="http://schemas.openxmlformats.org/officeDocument/2006/relationships/tags" Target="../tags/tag154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3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4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7" Type="http://schemas.openxmlformats.org/officeDocument/2006/relationships/image" Target="../media/image9.png"/><Relationship Id="rId2" Type="http://schemas.openxmlformats.org/officeDocument/2006/relationships/tags" Target="../tags/tag160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81" t="11774" r="9918" b="11902"/>
          <a:stretch/>
        </p:blipFill>
        <p:spPr>
          <a:xfrm>
            <a:off x="804468" y="1709011"/>
            <a:ext cx="2189805" cy="17521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67199" y="1310123"/>
            <a:ext cx="5486400" cy="116586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algn="l">
              <a:defRPr lang="en-US" sz="3600" u="sng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Insert Title Here				 </a:t>
            </a:r>
            <a:br>
              <a:rPr lang="en-US" dirty="0"/>
            </a:br>
            <a:r>
              <a:rPr lang="en-US" dirty="0"/>
              <a:t>in two lines						</a:t>
            </a:r>
          </a:p>
        </p:txBody>
      </p:sp>
      <p:cxnSp>
        <p:nvCxnSpPr>
          <p:cNvPr id="9" name="Straight Connector 8"/>
          <p:cNvCxnSpPr>
            <a:cxnSpLocks/>
          </p:cNvCxnSpPr>
          <p:nvPr/>
        </p:nvCxnSpPr>
        <p:spPr>
          <a:xfrm>
            <a:off x="3769835" y="1896228"/>
            <a:ext cx="0" cy="1349618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  <a:miter lim="400000"/>
          </a:ln>
        </p:spPr>
      </p:cxn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67200" y="2855768"/>
            <a:ext cx="3190875" cy="150332"/>
          </a:xfrm>
          <a:prstGeom prst="rect">
            <a:avLst/>
          </a:prstGeom>
          <a:noFill/>
        </p:spPr>
        <p:txBody>
          <a:bodyPr wrap="square" tIns="0" bIns="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1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Presenter’s first and last name 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267200" y="3084022"/>
            <a:ext cx="3190875" cy="149312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buNone/>
              <a:defRPr kumimoji="0" lang="en-US" sz="95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Designation</a:t>
            </a:r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4267200" y="3348038"/>
            <a:ext cx="3190875" cy="139770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buNone/>
              <a:defRPr kumimoji="0" lang="en-US" sz="9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760552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er_with people or other images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object 4"/>
          <p:cNvSpPr/>
          <p:nvPr/>
        </p:nvSpPr>
        <p:spPr>
          <a:xfrm>
            <a:off x="-114300" y="-25400"/>
            <a:ext cx="4671298" cy="4076763"/>
          </a:xfrm>
          <a:custGeom>
            <a:avLst/>
            <a:gdLst/>
            <a:ahLst/>
            <a:cxnLst/>
            <a:rect l="l" t="t" r="r" b="b"/>
            <a:pathLst>
              <a:path w="10193348" h="8895999">
                <a:moveTo>
                  <a:pt x="8488661" y="0"/>
                </a:moveTo>
                <a:lnTo>
                  <a:pt x="1704683" y="0"/>
                </a:lnTo>
                <a:lnTo>
                  <a:pt x="1492780" y="195439"/>
                </a:lnTo>
                <a:lnTo>
                  <a:pt x="1209152" y="502960"/>
                </a:lnTo>
                <a:lnTo>
                  <a:pt x="955379" y="827176"/>
                </a:lnTo>
                <a:lnTo>
                  <a:pt x="731462" y="1166233"/>
                </a:lnTo>
                <a:lnTo>
                  <a:pt x="537401" y="1518274"/>
                </a:lnTo>
                <a:lnTo>
                  <a:pt x="373195" y="1881445"/>
                </a:lnTo>
                <a:lnTo>
                  <a:pt x="238844" y="2253892"/>
                </a:lnTo>
                <a:lnTo>
                  <a:pt x="134350" y="2633758"/>
                </a:lnTo>
                <a:lnTo>
                  <a:pt x="59711" y="3019189"/>
                </a:lnTo>
                <a:lnTo>
                  <a:pt x="14927" y="3408331"/>
                </a:lnTo>
                <a:lnTo>
                  <a:pt x="0" y="3799327"/>
                </a:lnTo>
                <a:lnTo>
                  <a:pt x="14927" y="4190324"/>
                </a:lnTo>
                <a:lnTo>
                  <a:pt x="59711" y="4579465"/>
                </a:lnTo>
                <a:lnTo>
                  <a:pt x="134350" y="4964896"/>
                </a:lnTo>
                <a:lnTo>
                  <a:pt x="238844" y="5344763"/>
                </a:lnTo>
                <a:lnTo>
                  <a:pt x="373195" y="5717209"/>
                </a:lnTo>
                <a:lnTo>
                  <a:pt x="537401" y="6080381"/>
                </a:lnTo>
                <a:lnTo>
                  <a:pt x="731462" y="6432423"/>
                </a:lnTo>
                <a:lnTo>
                  <a:pt x="955379" y="6771479"/>
                </a:lnTo>
                <a:lnTo>
                  <a:pt x="1209152" y="7095696"/>
                </a:lnTo>
                <a:lnTo>
                  <a:pt x="1492780" y="7403218"/>
                </a:lnTo>
                <a:lnTo>
                  <a:pt x="1800302" y="7686847"/>
                </a:lnTo>
                <a:lnTo>
                  <a:pt x="2124519" y="7940619"/>
                </a:lnTo>
                <a:lnTo>
                  <a:pt x="2463576" y="8164537"/>
                </a:lnTo>
                <a:lnTo>
                  <a:pt x="2815618" y="8358598"/>
                </a:lnTo>
                <a:lnTo>
                  <a:pt x="3178790" y="8522804"/>
                </a:lnTo>
                <a:lnTo>
                  <a:pt x="3551236" y="8657154"/>
                </a:lnTo>
                <a:lnTo>
                  <a:pt x="3931103" y="8761649"/>
                </a:lnTo>
                <a:lnTo>
                  <a:pt x="4316535" y="8836288"/>
                </a:lnTo>
                <a:lnTo>
                  <a:pt x="4705676" y="8881071"/>
                </a:lnTo>
                <a:lnTo>
                  <a:pt x="5096673" y="8895999"/>
                </a:lnTo>
                <a:lnTo>
                  <a:pt x="5487669" y="8881071"/>
                </a:lnTo>
                <a:lnTo>
                  <a:pt x="5876811" y="8836288"/>
                </a:lnTo>
                <a:lnTo>
                  <a:pt x="6262242" y="8761649"/>
                </a:lnTo>
                <a:lnTo>
                  <a:pt x="6642109" y="8657154"/>
                </a:lnTo>
                <a:lnTo>
                  <a:pt x="7014555" y="8522804"/>
                </a:lnTo>
                <a:lnTo>
                  <a:pt x="7377727" y="8358598"/>
                </a:lnTo>
                <a:lnTo>
                  <a:pt x="7729769" y="8164537"/>
                </a:lnTo>
                <a:lnTo>
                  <a:pt x="8068825" y="7940619"/>
                </a:lnTo>
                <a:lnTo>
                  <a:pt x="8393042" y="7686847"/>
                </a:lnTo>
                <a:lnTo>
                  <a:pt x="8700564" y="7403218"/>
                </a:lnTo>
                <a:lnTo>
                  <a:pt x="8984193" y="7095696"/>
                </a:lnTo>
                <a:lnTo>
                  <a:pt x="9237966" y="6771479"/>
                </a:lnTo>
                <a:lnTo>
                  <a:pt x="9461884" y="6432423"/>
                </a:lnTo>
                <a:lnTo>
                  <a:pt x="9655946" y="6080381"/>
                </a:lnTo>
                <a:lnTo>
                  <a:pt x="9820152" y="5717209"/>
                </a:lnTo>
                <a:lnTo>
                  <a:pt x="9954502" y="5344763"/>
                </a:lnTo>
                <a:lnTo>
                  <a:pt x="10058997" y="4964896"/>
                </a:lnTo>
                <a:lnTo>
                  <a:pt x="10133636" y="4579465"/>
                </a:lnTo>
                <a:lnTo>
                  <a:pt x="10178420" y="4190324"/>
                </a:lnTo>
                <a:lnTo>
                  <a:pt x="10193348" y="3799327"/>
                </a:lnTo>
                <a:lnTo>
                  <a:pt x="10178420" y="3408331"/>
                </a:lnTo>
                <a:lnTo>
                  <a:pt x="10133636" y="3019189"/>
                </a:lnTo>
                <a:lnTo>
                  <a:pt x="10058997" y="2633758"/>
                </a:lnTo>
                <a:lnTo>
                  <a:pt x="9954502" y="2253892"/>
                </a:lnTo>
                <a:lnTo>
                  <a:pt x="9820152" y="1881445"/>
                </a:lnTo>
                <a:lnTo>
                  <a:pt x="9655946" y="1518274"/>
                </a:lnTo>
                <a:lnTo>
                  <a:pt x="9461884" y="1166233"/>
                </a:lnTo>
                <a:lnTo>
                  <a:pt x="9237966" y="827176"/>
                </a:lnTo>
                <a:lnTo>
                  <a:pt x="8984193" y="502960"/>
                </a:lnTo>
                <a:lnTo>
                  <a:pt x="8700564" y="195439"/>
                </a:lnTo>
                <a:lnTo>
                  <a:pt x="8488661" y="0"/>
                </a:lnTo>
                <a:close/>
              </a:path>
            </a:pathLst>
          </a:custGeom>
          <a:solidFill>
            <a:srgbClr val="FFDB28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+mn-lt"/>
            </a:endParaRPr>
          </a:p>
        </p:txBody>
      </p:sp>
      <p:sp>
        <p:nvSpPr>
          <p:cNvPr id="31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48903" y="2668230"/>
            <a:ext cx="723558" cy="723558"/>
          </a:xfrm>
          <a:prstGeom prst="ellipse">
            <a:avLst/>
          </a:prstGeom>
        </p:spPr>
        <p:txBody>
          <a:bodyPr tIns="0" bIns="0" anchor="b">
            <a:noAutofit/>
          </a:bodyPr>
          <a:lstStyle>
            <a:lvl1pPr marL="0" indent="0" algn="ctr">
              <a:buNone/>
              <a:defRPr sz="650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Insert people photograph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7457" y="3844395"/>
            <a:ext cx="1314000" cy="1103406"/>
          </a:xfrm>
          <a:prstGeom prst="rect">
            <a:avLst/>
          </a:prstGeom>
        </p:spPr>
      </p:pic>
      <p:sp>
        <p:nvSpPr>
          <p:cNvPr id="2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2316262"/>
            <a:ext cx="4314029" cy="381217"/>
          </a:xfrm>
        </p:spPr>
        <p:txBody>
          <a:bodyPr/>
          <a:lstStyle>
            <a:lvl1pPr marL="15394" indent="0" algn="ctr" defTabSz="4572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050" b="1" kern="1200" dirty="0">
                <a:solidFill>
                  <a:srgbClr val="0D356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5394" algn="ctr"/>
            <a:r>
              <a:rPr lang="en-US" sz="1050" b="1" dirty="0" err="1">
                <a:solidFill>
                  <a:srgbClr val="0D356E"/>
                </a:solidFill>
                <a:latin typeface="+mn-lt"/>
                <a:cs typeface="Arial"/>
              </a:rPr>
              <a:t>Subheadline</a:t>
            </a:r>
            <a:r>
              <a:rPr lang="en-US" sz="1050" b="1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b="1" dirty="0">
                <a:solidFill>
                  <a:srgbClr val="0D356E"/>
                </a:solidFill>
                <a:latin typeface="+mn-lt"/>
                <a:cs typeface="Arial"/>
              </a:rPr>
              <a:t>or</a:t>
            </a:r>
            <a:r>
              <a:rPr lang="en-US" sz="1050" b="1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b="1" dirty="0">
                <a:solidFill>
                  <a:srgbClr val="0D356E"/>
                </a:solidFill>
                <a:latin typeface="+mn-lt"/>
                <a:cs typeface="Arial"/>
              </a:rPr>
              <a:t>supportive</a:t>
            </a:r>
            <a:r>
              <a:rPr lang="en-US" sz="1050" b="1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b="1" dirty="0">
                <a:solidFill>
                  <a:srgbClr val="0D356E"/>
                </a:solidFill>
                <a:latin typeface="+mn-lt"/>
                <a:cs typeface="Arial"/>
              </a:rPr>
              <a:t>text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6266" y="2774490"/>
            <a:ext cx="4051300" cy="508000"/>
          </a:xfrm>
        </p:spPr>
        <p:txBody>
          <a:bodyPr/>
          <a:lstStyle>
            <a:lvl1pPr marL="15394" indent="0" algn="ctr" defTabSz="1828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050" kern="1200" spc="6" dirty="0">
                <a:solidFill>
                  <a:srgbClr val="0D356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5394" algn="ctr"/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Lorem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ipsum 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do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lor 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sit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amet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,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consectetur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ad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ipiscing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e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lit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. </a:t>
            </a:r>
            <a:b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</a:b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Morbi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at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mi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suscip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it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,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dap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ibus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nu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lla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eu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,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mo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lestie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quam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.</a:t>
            </a:r>
            <a:endParaRPr lang="en-US" sz="1050" dirty="0">
              <a:latin typeface="+mn-lt"/>
              <a:cs typeface="Arial"/>
            </a:endParaRPr>
          </a:p>
        </p:txBody>
      </p:sp>
      <p:sp>
        <p:nvSpPr>
          <p:cNvPr id="27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7062729" y="2668230"/>
            <a:ext cx="723558" cy="723558"/>
          </a:xfrm>
          <a:prstGeom prst="ellipse">
            <a:avLst/>
          </a:prstGeom>
        </p:spPr>
        <p:txBody>
          <a:bodyPr tIns="0" bIns="0" anchor="b">
            <a:noAutofit/>
          </a:bodyPr>
          <a:lstStyle>
            <a:lvl1pPr marL="0" indent="0" algn="ctr">
              <a:buNone/>
              <a:defRPr sz="650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Insert people photograph</a:t>
            </a:r>
          </a:p>
        </p:txBody>
      </p:sp>
      <p:sp>
        <p:nvSpPr>
          <p:cNvPr id="29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6258121" y="2668230"/>
            <a:ext cx="723558" cy="723558"/>
          </a:xfrm>
          <a:prstGeom prst="ellipse">
            <a:avLst/>
          </a:prstGeom>
        </p:spPr>
        <p:txBody>
          <a:bodyPr tIns="0" bIns="0" anchor="b">
            <a:noAutofit/>
          </a:bodyPr>
          <a:lstStyle>
            <a:lvl1pPr marL="0" indent="0" algn="ctr">
              <a:buNone/>
              <a:defRPr sz="650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Insert people photograph</a:t>
            </a:r>
          </a:p>
        </p:txBody>
      </p:sp>
      <p:sp>
        <p:nvSpPr>
          <p:cNvPr id="30" name="Picture Placeholder 9"/>
          <p:cNvSpPr>
            <a:spLocks noGrp="1"/>
          </p:cNvSpPr>
          <p:nvPr>
            <p:ph type="pic" sz="quarter" idx="17" hasCustomPrompt="1"/>
          </p:nvPr>
        </p:nvSpPr>
        <p:spPr>
          <a:xfrm>
            <a:off x="5453512" y="2668230"/>
            <a:ext cx="723558" cy="723558"/>
          </a:xfrm>
          <a:prstGeom prst="ellipse">
            <a:avLst/>
          </a:prstGeom>
        </p:spPr>
        <p:txBody>
          <a:bodyPr tIns="0" bIns="0" anchor="b">
            <a:noAutofit/>
          </a:bodyPr>
          <a:lstStyle>
            <a:lvl1pPr marL="0" indent="0" algn="ctr">
              <a:buNone/>
              <a:defRPr sz="650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Insert people photograph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53BCAE27-A192-45DC-A959-116DB2B14D4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3836" y="914400"/>
            <a:ext cx="6946900" cy="12192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3600" spc="-55" dirty="0">
                <a:solidFill>
                  <a:srgbClr val="0D35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5394"/>
            <a:r>
              <a:rPr lang="en-US" sz="3600" b="1" u="sng" spc="-55" dirty="0">
                <a:solidFill>
                  <a:srgbClr val="0D356E"/>
                </a:solidFill>
                <a:latin typeface="+mn-lt"/>
                <a:cs typeface="Arial"/>
              </a:rPr>
              <a:t>Headline placeholder</a:t>
            </a:r>
            <a:br>
              <a:rPr lang="en-US" sz="3600" b="1" u="sng" spc="-55" dirty="0">
                <a:solidFill>
                  <a:srgbClr val="0D356E"/>
                </a:solidFill>
                <a:latin typeface="+mn-lt"/>
                <a:cs typeface="Arial"/>
              </a:rPr>
            </a:br>
            <a:r>
              <a:rPr lang="en-US" sz="3600" b="1" u="sng" spc="-36" dirty="0">
                <a:solidFill>
                  <a:srgbClr val="0D356E"/>
                </a:solidFill>
                <a:latin typeface="+mn-lt"/>
                <a:cs typeface="Arial"/>
              </a:rPr>
              <a:t>i</a:t>
            </a:r>
            <a:r>
              <a:rPr lang="en-US" sz="3600" b="1" u="sng" spc="-67" dirty="0">
                <a:solidFill>
                  <a:srgbClr val="0D356E"/>
                </a:solidFill>
                <a:latin typeface="+mn-lt"/>
                <a:cs typeface="Arial"/>
              </a:rPr>
              <a:t>n</a:t>
            </a:r>
            <a:r>
              <a:rPr lang="en-US" sz="3600" b="1" u="sng" spc="-6" dirty="0">
                <a:solidFill>
                  <a:srgbClr val="0D356E"/>
                </a:solidFill>
                <a:latin typeface="+mn-lt"/>
                <a:cs typeface="Arial"/>
              </a:rPr>
              <a:t> t</a:t>
            </a:r>
            <a:r>
              <a:rPr lang="en-US" sz="3600" b="1" u="sng" spc="-85" dirty="0">
                <a:solidFill>
                  <a:srgbClr val="0D356E"/>
                </a:solidFill>
                <a:latin typeface="+mn-lt"/>
                <a:cs typeface="Arial"/>
              </a:rPr>
              <a:t>w</a:t>
            </a:r>
            <a:r>
              <a:rPr lang="en-US" sz="3600" b="1" u="sng" spc="-67" dirty="0">
                <a:solidFill>
                  <a:srgbClr val="0D356E"/>
                </a:solidFill>
                <a:latin typeface="+mn-lt"/>
                <a:cs typeface="Arial"/>
              </a:rPr>
              <a:t>o</a:t>
            </a:r>
            <a:r>
              <a:rPr lang="en-US" sz="3600" b="1" u="sng" spc="-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3600" b="1" u="sng" spc="-36" dirty="0">
                <a:solidFill>
                  <a:srgbClr val="0D356E"/>
                </a:solidFill>
                <a:latin typeface="+mn-lt"/>
                <a:cs typeface="Arial"/>
              </a:rPr>
              <a:t>li</a:t>
            </a:r>
            <a:r>
              <a:rPr lang="en-US" sz="3600" b="1" u="sng" spc="-73" dirty="0">
                <a:solidFill>
                  <a:srgbClr val="0D356E"/>
                </a:solidFill>
                <a:latin typeface="+mn-lt"/>
                <a:cs typeface="Arial"/>
              </a:rPr>
              <a:t>n</a:t>
            </a:r>
            <a:r>
              <a:rPr lang="en-US" sz="3600" b="1" u="sng" spc="-61" dirty="0">
                <a:solidFill>
                  <a:srgbClr val="0D356E"/>
                </a:solidFill>
                <a:latin typeface="+mn-lt"/>
                <a:cs typeface="Arial"/>
              </a:rPr>
              <a:t>es</a:t>
            </a:r>
            <a:endParaRPr lang="en-US" sz="3600" u="sng" dirty="0">
              <a:latin typeface="+mn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74326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56">
          <p15:clr>
            <a:srgbClr val="FBAE40"/>
          </p15:clr>
        </p15:guide>
        <p15:guide id="2" orient="horz" pos="1620">
          <p15:clr>
            <a:srgbClr val="FBAE40"/>
          </p15:clr>
        </p15:guide>
        <p15:guide id="3" orient="horz" pos="296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1"/>
          <p:cNvSpPr>
            <a:spLocks noGrp="1"/>
          </p:cNvSpPr>
          <p:nvPr>
            <p:ph type="ctrTitle" hasCustomPrompt="1"/>
          </p:nvPr>
        </p:nvSpPr>
        <p:spPr>
          <a:xfrm>
            <a:off x="263070" y="258807"/>
            <a:ext cx="5245100" cy="909593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75771" y="1295399"/>
            <a:ext cx="8601530" cy="254001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5771" y="1674584"/>
            <a:ext cx="8601530" cy="3085101"/>
          </a:xfrm>
        </p:spPr>
        <p:txBody>
          <a:bodyPr/>
          <a:lstStyle>
            <a:lvl1pPr marL="171450" indent="-17145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Donec</a:t>
            </a:r>
            <a:r>
              <a:rPr lang="en-US" dirty="0"/>
              <a:t> maximus pharetra </a:t>
            </a:r>
            <a:r>
              <a:rPr lang="en-US" dirty="0" err="1"/>
              <a:t>sapie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ligula </a:t>
            </a:r>
            <a:r>
              <a:rPr lang="en-US" dirty="0" err="1"/>
              <a:t>nunc</a:t>
            </a:r>
            <a:r>
              <a:rPr lang="en-US" dirty="0"/>
              <a:t>, ac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a. </a:t>
            </a:r>
            <a:r>
              <a:rPr lang="en-US" dirty="0" err="1"/>
              <a:t>Suspendisse</a:t>
            </a:r>
            <a:r>
              <a:rPr lang="en-US" dirty="0"/>
              <a:t> ex mi, </a:t>
            </a:r>
            <a:r>
              <a:rPr lang="en-US" dirty="0" err="1"/>
              <a:t>imperdiet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viverra</a:t>
            </a:r>
            <a:r>
              <a:rPr lang="en-US" dirty="0"/>
              <a:t> lorem.</a:t>
            </a:r>
          </a:p>
          <a:p>
            <a:pPr lvl="0"/>
            <a:r>
              <a:rPr lang="en-US" dirty="0"/>
              <a:t>Description text in Dark Grey and 24pt size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Donec</a:t>
            </a:r>
            <a:r>
              <a:rPr lang="en-US" dirty="0"/>
              <a:t> maximus pharetra </a:t>
            </a:r>
            <a:r>
              <a:rPr lang="en-US" dirty="0" err="1"/>
              <a:t>sapie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ligula </a:t>
            </a:r>
            <a:r>
              <a:rPr lang="en-US" dirty="0" err="1"/>
              <a:t>nunc</a:t>
            </a:r>
            <a:r>
              <a:rPr lang="en-US" dirty="0"/>
              <a:t>, ac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a. </a:t>
            </a:r>
            <a:r>
              <a:rPr lang="en-US" dirty="0" err="1"/>
              <a:t>Suspendisse</a:t>
            </a:r>
            <a:r>
              <a:rPr lang="en-US" dirty="0"/>
              <a:t> ex mi, </a:t>
            </a:r>
            <a:r>
              <a:rPr lang="en-US" dirty="0" err="1"/>
              <a:t>imperdiet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viverra</a:t>
            </a:r>
            <a:r>
              <a:rPr lang="en-US" dirty="0"/>
              <a:t> lorem.</a:t>
            </a:r>
          </a:p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Donec</a:t>
            </a:r>
            <a:r>
              <a:rPr lang="en-US" dirty="0"/>
              <a:t> maximus pharetra </a:t>
            </a:r>
            <a:r>
              <a:rPr lang="en-US" dirty="0" err="1"/>
              <a:t>sapie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ligula </a:t>
            </a:r>
            <a:r>
              <a:rPr lang="en-US" dirty="0" err="1"/>
              <a:t>nunc</a:t>
            </a:r>
            <a:r>
              <a:rPr lang="en-US" dirty="0"/>
              <a:t>, ac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a. </a:t>
            </a:r>
            <a:r>
              <a:rPr lang="en-US" dirty="0" err="1"/>
              <a:t>Suspendisse</a:t>
            </a:r>
            <a:r>
              <a:rPr lang="en-US" dirty="0"/>
              <a:t> ex mi, </a:t>
            </a:r>
            <a:r>
              <a:rPr lang="en-US" dirty="0" err="1"/>
              <a:t>imperdiet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viverra</a:t>
            </a:r>
            <a:r>
              <a:rPr lang="en-US" dirty="0"/>
              <a:t> lorem.</a:t>
            </a:r>
          </a:p>
          <a:p>
            <a:pPr lvl="0"/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75770" y="63500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2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40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1" name="TextBox 40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42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26" name="Oval 25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Oval 27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Oval 28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44539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  <p15:guide id="3" pos="559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75770" y="63500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263070" y="258807"/>
            <a:ext cx="5245100" cy="909593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6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45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6" name="TextBox 45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47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29" name="Oval 28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34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Oval 36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603771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">
          <p15:clr>
            <a:srgbClr val="FBAE40"/>
          </p15:clr>
        </p15:guide>
        <p15:guide id="2" pos="164">
          <p15:clr>
            <a:srgbClr val="FBAE40"/>
          </p15:clr>
        </p15:guide>
        <p15:guide id="3" orient="horz" pos="3078">
          <p15:clr>
            <a:srgbClr val="FBAE40"/>
          </p15:clr>
        </p15:guide>
        <p15:guide id="4" pos="559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0"/>
            <a:ext cx="9146399" cy="4902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16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buFontTx/>
              <a:buNone/>
            </a:pPr>
            <a:r>
              <a:rPr lang="en-US" dirty="0"/>
              <a:t>Click icon to add background image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275770" y="63500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33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4" name="TextBox 33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35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27" name="Oval 26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28" name="Oval 27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Oval 28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7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68514" y="1765300"/>
            <a:ext cx="4374573" cy="1193706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34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4121092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 with backgroun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0"/>
            <a:ext cx="9146399" cy="4902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16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buFontTx/>
              <a:buNone/>
            </a:pPr>
            <a:r>
              <a:rPr lang="en-US" dirty="0"/>
              <a:t>Click icon to add background image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277584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15" name="Text Placeholder 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77584" y="1278082"/>
            <a:ext cx="2651760" cy="997527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Body copy in 10pt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225857" y="1278082"/>
            <a:ext cx="2651760" cy="997527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174130" y="1278082"/>
            <a:ext cx="2651760" cy="997527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</p:txBody>
      </p:sp>
      <p:sp>
        <p:nvSpPr>
          <p:cNvPr id="47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7584" y="254000"/>
            <a:ext cx="5245100" cy="914400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0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38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9" name="TextBox 38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40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27" name="Oval 26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28" name="Oval 27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31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33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83862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quar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492565" y="0"/>
            <a:ext cx="5653834" cy="44069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77584" y="1295399"/>
            <a:ext cx="2260600" cy="254001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5" name="Text Placeholder 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77584" y="1674584"/>
            <a:ext cx="2260600" cy="3085101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Body copy in 30pt.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277584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47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7583" y="254000"/>
            <a:ext cx="4198723" cy="909593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38" name="Rectangle 37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9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48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9" name="TextBox 48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50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31" name="Group 30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32" name="Oval 31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33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34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47557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ircula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val 26"/>
          <p:cNvSpPr/>
          <p:nvPr userDrawn="1"/>
        </p:nvSpPr>
        <p:spPr>
          <a:xfrm>
            <a:off x="3886688" y="2623199"/>
            <a:ext cx="2231136" cy="2231136"/>
          </a:xfrm>
          <a:prstGeom prst="ellipse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75770" y="1295399"/>
            <a:ext cx="2260600" cy="254001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5" name="Text Placeholder 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75770" y="1674584"/>
            <a:ext cx="2260600" cy="3085101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Body copy in 30pt.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275770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928633" y="584200"/>
            <a:ext cx="4064000" cy="4064000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277584" y="254000"/>
            <a:ext cx="5151666" cy="909593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0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38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9" name="TextBox 38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40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28" name="Oval 27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32" name="Oval 31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33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34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375535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Multip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7584" y="254000"/>
            <a:ext cx="5245100" cy="914400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15" name="Text Placeholder 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77584" y="3896489"/>
            <a:ext cx="2061471" cy="184150"/>
          </a:xfrm>
        </p:spPr>
        <p:txBody>
          <a:bodyPr anchor="ctr" anchorCtr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Image title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277584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7584" y="4211108"/>
            <a:ext cx="2061471" cy="671315"/>
          </a:xfrm>
        </p:spPr>
        <p:txBody>
          <a:bodyPr tIns="0" bIns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442487" y="3896489"/>
            <a:ext cx="2051148" cy="184150"/>
          </a:xfrm>
        </p:spPr>
        <p:txBody>
          <a:bodyPr anchor="ctr" anchorCtr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Image title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2442487" y="4211108"/>
            <a:ext cx="2051148" cy="671315"/>
          </a:xfrm>
        </p:spPr>
        <p:txBody>
          <a:bodyPr tIns="0" bIns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637095" y="3896489"/>
            <a:ext cx="2061471" cy="184150"/>
          </a:xfrm>
        </p:spPr>
        <p:txBody>
          <a:bodyPr anchor="ctr" anchorCtr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Image title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4637095" y="4211108"/>
            <a:ext cx="2061471" cy="671315"/>
          </a:xfrm>
        </p:spPr>
        <p:txBody>
          <a:bodyPr tIns="0" bIns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842025" y="3896489"/>
            <a:ext cx="2061471" cy="184150"/>
          </a:xfrm>
        </p:spPr>
        <p:txBody>
          <a:bodyPr anchor="ctr" anchorCtr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Image title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842025" y="4211108"/>
            <a:ext cx="2061471" cy="671315"/>
          </a:xfrm>
        </p:spPr>
        <p:txBody>
          <a:bodyPr tIns="0" bIns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</p:txBody>
      </p:sp>
      <p:sp>
        <p:nvSpPr>
          <p:cNvPr id="25" name="Picture Placeholder 9"/>
          <p:cNvSpPr>
            <a:spLocks noGrp="1"/>
          </p:cNvSpPr>
          <p:nvPr>
            <p:ph type="pic" sz="quarter" idx="24" hasCustomPrompt="1"/>
          </p:nvPr>
        </p:nvSpPr>
        <p:spPr>
          <a:xfrm>
            <a:off x="277584" y="1701800"/>
            <a:ext cx="2057400" cy="2057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12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buFontTx/>
              <a:buNone/>
            </a:pPr>
            <a:r>
              <a:rPr lang="en-US" dirty="0"/>
              <a:t>Click icon to add color image</a:t>
            </a:r>
          </a:p>
        </p:txBody>
      </p:sp>
      <p:sp>
        <p:nvSpPr>
          <p:cNvPr id="27" name="Picture Placeholder 9"/>
          <p:cNvSpPr>
            <a:spLocks noGrp="1"/>
          </p:cNvSpPr>
          <p:nvPr>
            <p:ph type="pic" sz="quarter" idx="25" hasCustomPrompt="1"/>
          </p:nvPr>
        </p:nvSpPr>
        <p:spPr>
          <a:xfrm>
            <a:off x="2442487" y="1701800"/>
            <a:ext cx="2057400" cy="2057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12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buFontTx/>
              <a:buNone/>
            </a:pPr>
            <a:r>
              <a:rPr lang="en-US" dirty="0"/>
              <a:t>Click icon to add color image</a:t>
            </a:r>
          </a:p>
        </p:txBody>
      </p:sp>
      <p:sp>
        <p:nvSpPr>
          <p:cNvPr id="28" name="Picture Placeholder 9"/>
          <p:cNvSpPr>
            <a:spLocks noGrp="1"/>
          </p:cNvSpPr>
          <p:nvPr>
            <p:ph type="pic" sz="quarter" idx="26" hasCustomPrompt="1"/>
          </p:nvPr>
        </p:nvSpPr>
        <p:spPr>
          <a:xfrm>
            <a:off x="4647418" y="1701800"/>
            <a:ext cx="2057400" cy="2057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12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buFontTx/>
              <a:buNone/>
            </a:pPr>
            <a:r>
              <a:rPr lang="en-US" dirty="0"/>
              <a:t>Click icon to add color image</a:t>
            </a:r>
          </a:p>
        </p:txBody>
      </p:sp>
      <p:sp>
        <p:nvSpPr>
          <p:cNvPr id="29" name="Picture Placeholder 9"/>
          <p:cNvSpPr>
            <a:spLocks noGrp="1"/>
          </p:cNvSpPr>
          <p:nvPr>
            <p:ph type="pic" sz="quarter" idx="27" hasCustomPrompt="1"/>
          </p:nvPr>
        </p:nvSpPr>
        <p:spPr>
          <a:xfrm>
            <a:off x="6852349" y="1701800"/>
            <a:ext cx="2057400" cy="2057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12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buFontTx/>
              <a:buNone/>
            </a:pPr>
            <a:r>
              <a:rPr lang="en-US" dirty="0"/>
              <a:t>Click icon to add color image</a:t>
            </a:r>
          </a:p>
        </p:txBody>
      </p:sp>
      <p:sp>
        <p:nvSpPr>
          <p:cNvPr id="43" name="Rectangle 42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53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4" name="TextBox 53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55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42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48" name="Oval 47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49" name="Oval 48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Oval 49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Oval 50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Oval 51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7206146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Bullet poin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7584" y="254000"/>
            <a:ext cx="5245100" cy="914400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24" name="Text Placeholder 38"/>
          <p:cNvSpPr>
            <a:spLocks noGrp="1"/>
          </p:cNvSpPr>
          <p:nvPr>
            <p:ph type="body" sz="quarter" idx="15" hasCustomPrompt="1"/>
          </p:nvPr>
        </p:nvSpPr>
        <p:spPr>
          <a:xfrm>
            <a:off x="203199" y="2806142"/>
            <a:ext cx="337820" cy="336930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Font typeface="Arial" pitchFamily="34" charset="0"/>
              <a:buNone/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79281" y="2903314"/>
            <a:ext cx="2089075" cy="390893"/>
          </a:xfrm>
        </p:spPr>
        <p:txBody>
          <a:bodyPr tIns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pt-BR" dirty="0"/>
              <a:t>Duis rutrum vestibulum ornare. Integer cursus eu elit mollis suscipit</a:t>
            </a:r>
          </a:p>
        </p:txBody>
      </p:sp>
      <p:sp>
        <p:nvSpPr>
          <p:cNvPr id="28" name="Text Placeholder 38"/>
          <p:cNvSpPr>
            <a:spLocks noGrp="1"/>
          </p:cNvSpPr>
          <p:nvPr>
            <p:ph type="body" sz="quarter" idx="16" hasCustomPrompt="1"/>
          </p:nvPr>
        </p:nvSpPr>
        <p:spPr>
          <a:xfrm>
            <a:off x="2794448" y="2806142"/>
            <a:ext cx="337820" cy="336930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Font typeface="Arial" pitchFamily="34" charset="0"/>
              <a:buNone/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70530" y="2687409"/>
            <a:ext cx="2089075" cy="182563"/>
          </a:xfrm>
        </p:spPr>
        <p:txBody>
          <a:bodyPr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Bullet point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3170530" y="2903314"/>
            <a:ext cx="2089075" cy="390893"/>
          </a:xfrm>
        </p:spPr>
        <p:txBody>
          <a:bodyPr tIns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pt-BR" dirty="0"/>
              <a:t>Duis rutrum vestibulum ornare. Integer cursus eu elit mollis suscipit</a:t>
            </a:r>
          </a:p>
        </p:txBody>
      </p:sp>
      <p:sp>
        <p:nvSpPr>
          <p:cNvPr id="31" name="Text Placeholder 38"/>
          <p:cNvSpPr>
            <a:spLocks noGrp="1"/>
          </p:cNvSpPr>
          <p:nvPr>
            <p:ph type="body" sz="quarter" idx="19" hasCustomPrompt="1"/>
          </p:nvPr>
        </p:nvSpPr>
        <p:spPr>
          <a:xfrm>
            <a:off x="203199" y="3890030"/>
            <a:ext cx="337820" cy="336930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Font typeface="Arial" pitchFamily="34" charset="0"/>
              <a:buNone/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579281" y="3771297"/>
            <a:ext cx="2089075" cy="182563"/>
          </a:xfrm>
        </p:spPr>
        <p:txBody>
          <a:bodyPr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Bullet point</a:t>
            </a:r>
          </a:p>
        </p:txBody>
      </p:sp>
      <p:sp>
        <p:nvSpPr>
          <p:cNvPr id="43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579281" y="3987202"/>
            <a:ext cx="2089075" cy="390893"/>
          </a:xfrm>
        </p:spPr>
        <p:txBody>
          <a:bodyPr tIns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pt-BR" dirty="0"/>
              <a:t>Duis rutrum vestibulum ornare. Integer cursus eu elit mollis suscipit</a:t>
            </a:r>
          </a:p>
        </p:txBody>
      </p:sp>
      <p:sp>
        <p:nvSpPr>
          <p:cNvPr id="44" name="Text Placeholder 38"/>
          <p:cNvSpPr>
            <a:spLocks noGrp="1"/>
          </p:cNvSpPr>
          <p:nvPr>
            <p:ph type="body" sz="quarter" idx="22" hasCustomPrompt="1"/>
          </p:nvPr>
        </p:nvSpPr>
        <p:spPr>
          <a:xfrm>
            <a:off x="2794448" y="3890030"/>
            <a:ext cx="337820" cy="336930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Font typeface="Arial" pitchFamily="34" charset="0"/>
              <a:buNone/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3170530" y="3771297"/>
            <a:ext cx="2089075" cy="182563"/>
          </a:xfrm>
        </p:spPr>
        <p:txBody>
          <a:bodyPr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Bullet point</a:t>
            </a:r>
          </a:p>
        </p:txBody>
      </p:sp>
      <p:sp>
        <p:nvSpPr>
          <p:cNvPr id="46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3170530" y="3987202"/>
            <a:ext cx="2089075" cy="390893"/>
          </a:xfrm>
        </p:spPr>
        <p:txBody>
          <a:bodyPr tIns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pt-BR" dirty="0"/>
              <a:t>Duis rutrum vestibulum ornare. Integer cursus eu elit mollis suscipit</a:t>
            </a:r>
          </a:p>
        </p:txBody>
      </p:sp>
      <p:sp>
        <p:nvSpPr>
          <p:cNvPr id="4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77584" y="1295399"/>
            <a:ext cx="5056406" cy="685801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2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</a:t>
            </a:r>
          </a:p>
        </p:txBody>
      </p:sp>
      <p:sp>
        <p:nvSpPr>
          <p:cNvPr id="49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579281" y="2687409"/>
            <a:ext cx="2089075" cy="182563"/>
          </a:xfrm>
        </p:spPr>
        <p:txBody>
          <a:bodyPr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Bullet point</a:t>
            </a:r>
          </a:p>
        </p:txBody>
      </p:sp>
      <p:sp>
        <p:nvSpPr>
          <p:cNvPr id="33" name="Picture Placeholder 9"/>
          <p:cNvSpPr>
            <a:spLocks noGrp="1"/>
          </p:cNvSpPr>
          <p:nvPr>
            <p:ph type="pic" sz="quarter" idx="27" hasCustomPrompt="1"/>
          </p:nvPr>
        </p:nvSpPr>
        <p:spPr>
          <a:xfrm>
            <a:off x="5562599" y="254000"/>
            <a:ext cx="3583799" cy="4572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Tx/>
              <a:buNone/>
              <a:defRPr sz="14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buFontTx/>
              <a:buNone/>
            </a:pPr>
            <a:r>
              <a:rPr lang="en-US" dirty="0"/>
              <a:t>Click icon to add image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77584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50" name="Rectangle 49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1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59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0" name="TextBox 59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61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41" name="Group 40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42" name="Oval 41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53" name="Oval 52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Oval 53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Oval 54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Oval 55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482096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val 32"/>
          <p:cNvSpPr/>
          <p:nvPr userDrawn="1"/>
        </p:nvSpPr>
        <p:spPr>
          <a:xfrm>
            <a:off x="-1317287" y="154716"/>
            <a:ext cx="4808884" cy="4808884"/>
          </a:xfrm>
          <a:prstGeom prst="ellipse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5769" y="254000"/>
            <a:ext cx="5245100" cy="914400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Add a quote</a:t>
            </a:r>
            <a:br>
              <a:rPr lang="en-US" dirty="0"/>
            </a:br>
            <a:r>
              <a:rPr lang="en-US" dirty="0"/>
              <a:t>below</a:t>
            </a:r>
          </a:p>
        </p:txBody>
      </p:sp>
      <p:sp>
        <p:nvSpPr>
          <p:cNvPr id="4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75769" y="2184399"/>
            <a:ext cx="3794374" cy="876301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“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”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5769" y="3174999"/>
            <a:ext cx="3794374" cy="203202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9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Author name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455886" y="2184399"/>
            <a:ext cx="4428402" cy="1850572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1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Donec</a:t>
            </a:r>
            <a:r>
              <a:rPr lang="en-US" dirty="0"/>
              <a:t> maximus pharetra </a:t>
            </a:r>
            <a:r>
              <a:rPr lang="en-US" dirty="0" err="1"/>
              <a:t>sapie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ligula </a:t>
            </a:r>
            <a:r>
              <a:rPr lang="en-US" dirty="0" err="1"/>
              <a:t>nunc</a:t>
            </a:r>
            <a:r>
              <a:rPr lang="en-US" dirty="0"/>
              <a:t>, ac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a. </a:t>
            </a:r>
            <a:r>
              <a:rPr lang="en-US" dirty="0" err="1"/>
              <a:t>Suspendisse</a:t>
            </a:r>
            <a:r>
              <a:rPr lang="en-US" dirty="0"/>
              <a:t> ex mi, </a:t>
            </a:r>
            <a:r>
              <a:rPr lang="en-US" dirty="0" err="1"/>
              <a:t>imperdiet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viverra</a:t>
            </a:r>
            <a:r>
              <a:rPr lang="en-US" dirty="0"/>
              <a:t> lorem.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4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35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6" name="TextBox 35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37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29" name="Oval 28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31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33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438112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resenter's Picture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67200" y="1310123"/>
            <a:ext cx="5486400" cy="116586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algn="l">
              <a:defRPr lang="en-US" sz="3600" u="sng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Insert Title Here				 </a:t>
            </a:r>
            <a:br>
              <a:rPr lang="en-US" dirty="0"/>
            </a:br>
            <a:r>
              <a:rPr lang="en-US" dirty="0"/>
              <a:t>in two lines						</a:t>
            </a:r>
          </a:p>
        </p:txBody>
      </p:sp>
      <p:cxnSp>
        <p:nvCxnSpPr>
          <p:cNvPr id="9" name="Straight Connector 8"/>
          <p:cNvCxnSpPr>
            <a:cxnSpLocks/>
          </p:cNvCxnSpPr>
          <p:nvPr/>
        </p:nvCxnSpPr>
        <p:spPr>
          <a:xfrm>
            <a:off x="3769835" y="1896228"/>
            <a:ext cx="0" cy="1349618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  <a:miter lim="400000"/>
          </a:ln>
        </p:spPr>
      </p:cxnSp>
      <p:sp>
        <p:nvSpPr>
          <p:cNvPr id="2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29863" y="3515143"/>
            <a:ext cx="3190875" cy="150332"/>
          </a:xfrm>
          <a:prstGeom prst="rect">
            <a:avLst/>
          </a:prstGeom>
          <a:noFill/>
        </p:spPr>
        <p:txBody>
          <a:bodyPr wrap="square" tIns="0" bIns="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1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Presenter’s first and last name </a:t>
            </a:r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229863" y="3724346"/>
            <a:ext cx="3190875" cy="307903"/>
          </a:xfrm>
          <a:prstGeom prst="rect">
            <a:avLst/>
          </a:prstGeom>
        </p:spPr>
        <p:txBody>
          <a:bodyPr tIns="0" bIns="0" anchor="t" anchorCtr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None/>
              <a:tabLst/>
              <a:defRPr kumimoji="0" lang="en-US" sz="95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</a:t>
            </a:r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4289307" y="3365500"/>
            <a:ext cx="774700" cy="774700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7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Presenter’s image</a:t>
            </a:r>
            <a:endParaRPr lang="en-IN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81" t="11774" r="9918" b="11902"/>
          <a:stretch/>
        </p:blipFill>
        <p:spPr>
          <a:xfrm>
            <a:off x="804468" y="1709011"/>
            <a:ext cx="2189805" cy="1752170"/>
          </a:xfrm>
          <a:prstGeom prst="rect">
            <a:avLst/>
          </a:prstGeom>
        </p:spPr>
      </p:pic>
      <p:cxnSp>
        <p:nvCxnSpPr>
          <p:cNvPr id="39" name="Straight Connector 38"/>
          <p:cNvCxnSpPr/>
          <p:nvPr userDrawn="1"/>
        </p:nvCxnSpPr>
        <p:spPr>
          <a:xfrm>
            <a:off x="260350" y="-187203"/>
            <a:ext cx="0" cy="164592"/>
          </a:xfrm>
          <a:prstGeom prst="line">
            <a:avLst/>
          </a:prstGeom>
          <a:ln w="1270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 userDrawn="1"/>
        </p:nvCxnSpPr>
        <p:spPr>
          <a:xfrm>
            <a:off x="260350" y="5128988"/>
            <a:ext cx="0" cy="164592"/>
          </a:xfrm>
          <a:prstGeom prst="line">
            <a:avLst/>
          </a:prstGeom>
          <a:ln w="1270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2376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1"/>
          <p:cNvSpPr>
            <a:spLocks noGrp="1"/>
          </p:cNvSpPr>
          <p:nvPr>
            <p:ph type="ctrTitle" hasCustomPrompt="1"/>
          </p:nvPr>
        </p:nvSpPr>
        <p:spPr>
          <a:xfrm>
            <a:off x="277584" y="254000"/>
            <a:ext cx="5245100" cy="914400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77584" y="1295399"/>
            <a:ext cx="3556000" cy="475344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4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mall table with optional highlight column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7584" y="1861147"/>
            <a:ext cx="3556000" cy="2826742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Donec</a:t>
            </a:r>
            <a:r>
              <a:rPr lang="en-US" dirty="0"/>
              <a:t> maximus pharetra </a:t>
            </a:r>
            <a:r>
              <a:rPr lang="en-US" dirty="0" err="1"/>
              <a:t>sapie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ligula </a:t>
            </a:r>
            <a:r>
              <a:rPr lang="en-US" dirty="0" err="1"/>
              <a:t>nunc</a:t>
            </a:r>
            <a:r>
              <a:rPr lang="en-US" dirty="0"/>
              <a:t>, ac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a. </a:t>
            </a:r>
            <a:r>
              <a:rPr lang="en-US" dirty="0" err="1"/>
              <a:t>Suspendisse</a:t>
            </a:r>
            <a:r>
              <a:rPr lang="en-US" dirty="0"/>
              <a:t> ex mi, </a:t>
            </a:r>
            <a:r>
              <a:rPr lang="en-US" dirty="0" err="1"/>
              <a:t>imperdiet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viverra</a:t>
            </a:r>
            <a:r>
              <a:rPr lang="en-US" dirty="0"/>
              <a:t> lorem.</a:t>
            </a:r>
          </a:p>
          <a:p>
            <a:pPr lvl="0"/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77584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3" hasCustomPrompt="1"/>
          </p:nvPr>
        </p:nvSpPr>
        <p:spPr>
          <a:xfrm>
            <a:off x="4035425" y="1295400"/>
            <a:ext cx="4868070" cy="3392488"/>
          </a:xfrm>
        </p:spPr>
        <p:txBody>
          <a:bodyPr/>
          <a:lstStyle>
            <a:lvl1pPr marL="0" indent="0" algn="ctr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able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6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34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" name="TextBox 34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36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29" name="Oval 28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31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398068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Graph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1"/>
          <p:cNvSpPr>
            <a:spLocks noGrp="1"/>
          </p:cNvSpPr>
          <p:nvPr>
            <p:ph type="ctrTitle" hasCustomPrompt="1"/>
          </p:nvPr>
        </p:nvSpPr>
        <p:spPr>
          <a:xfrm>
            <a:off x="277584" y="254000"/>
            <a:ext cx="5245100" cy="914400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7584" y="1295400"/>
            <a:ext cx="3556000" cy="3392489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endParaRPr lang="en-US" dirty="0"/>
          </a:p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maximus</a:t>
            </a:r>
            <a:r>
              <a:rPr lang="en-US" dirty="0"/>
              <a:t> pharetra </a:t>
            </a:r>
            <a:r>
              <a:rPr lang="en-US" dirty="0" err="1"/>
              <a:t>sapie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ligula </a:t>
            </a:r>
            <a:r>
              <a:rPr lang="en-US" dirty="0" err="1"/>
              <a:t>nunc</a:t>
            </a:r>
            <a:r>
              <a:rPr lang="en-US" dirty="0"/>
              <a:t>, ac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a. </a:t>
            </a:r>
            <a:r>
              <a:rPr lang="en-US" dirty="0" err="1"/>
              <a:t>Suspendisse</a:t>
            </a:r>
            <a:r>
              <a:rPr lang="en-US" dirty="0"/>
              <a:t> ex mi, </a:t>
            </a:r>
            <a:r>
              <a:rPr lang="en-US" dirty="0" err="1"/>
              <a:t>imperdiet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viverra</a:t>
            </a:r>
            <a:r>
              <a:rPr lang="en-US" dirty="0"/>
              <a:t> lorem.</a:t>
            </a:r>
          </a:p>
          <a:p>
            <a:pPr lvl="0"/>
            <a:endParaRPr lang="en-US" dirty="0"/>
          </a:p>
        </p:txBody>
      </p:sp>
      <p:sp>
        <p:nvSpPr>
          <p:cNvPr id="17" name="Chart Placeholder 2"/>
          <p:cNvSpPr>
            <a:spLocks noGrp="1"/>
          </p:cNvSpPr>
          <p:nvPr>
            <p:ph type="chart" sz="quarter" idx="14" hasCustomPrompt="1"/>
          </p:nvPr>
        </p:nvSpPr>
        <p:spPr>
          <a:xfrm>
            <a:off x="4035425" y="1295400"/>
            <a:ext cx="4868070" cy="3392488"/>
          </a:xfrm>
        </p:spPr>
        <p:txBody>
          <a:bodyPr/>
          <a:lstStyle>
            <a:lvl1pPr marL="1714500" marR="0" indent="0" algn="ctr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Wingdings" pitchFamily="2" charset="2"/>
              <a:buNone/>
              <a:tabLst/>
              <a:defRPr sz="14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Click to add chart/graph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77584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7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35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6" name="TextBox 35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37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25" name="Oval 24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29" name="Oval 28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31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27525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mart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1"/>
          <p:cNvSpPr>
            <a:spLocks noGrp="1"/>
          </p:cNvSpPr>
          <p:nvPr>
            <p:ph type="ctrTitle" hasCustomPrompt="1"/>
          </p:nvPr>
        </p:nvSpPr>
        <p:spPr>
          <a:xfrm>
            <a:off x="277584" y="254000"/>
            <a:ext cx="4902200" cy="914400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7584" y="1295401"/>
            <a:ext cx="4673600" cy="3061446"/>
          </a:xfrm>
        </p:spPr>
        <p:txBody>
          <a:bodyPr numCol="2" spcCol="27432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wo column body copy in size 10pt or 8pt as minimum.</a:t>
            </a:r>
          </a:p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Dnec</a:t>
            </a:r>
            <a:r>
              <a:rPr lang="en-US" dirty="0"/>
              <a:t> maximus pharetra </a:t>
            </a:r>
            <a:r>
              <a:rPr lang="en-US" dirty="0" err="1"/>
              <a:t>sapie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ligula </a:t>
            </a:r>
            <a:r>
              <a:rPr lang="en-US" dirty="0" err="1"/>
              <a:t>nunc</a:t>
            </a:r>
            <a:r>
              <a:rPr lang="en-US" dirty="0"/>
              <a:t>, ac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a. </a:t>
            </a:r>
            <a:r>
              <a:rPr lang="en-US" dirty="0" err="1"/>
              <a:t>Suspendisse</a:t>
            </a:r>
            <a:r>
              <a:rPr lang="en-US" dirty="0"/>
              <a:t> ex mi, </a:t>
            </a:r>
            <a:r>
              <a:rPr lang="en-US" dirty="0" err="1"/>
              <a:t>imperdiet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viverra</a:t>
            </a:r>
            <a:r>
              <a:rPr lang="en-US" dirty="0"/>
              <a:t> lorem.</a:t>
            </a:r>
          </a:p>
          <a:p>
            <a:pPr lvl="0"/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,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  <a:p>
            <a:pPr lvl="0"/>
            <a:r>
              <a:rPr lang="en-US" dirty="0" err="1"/>
              <a:t>Donec</a:t>
            </a:r>
            <a:r>
              <a:rPr lang="en-US" dirty="0"/>
              <a:t> maximus pharetra </a:t>
            </a:r>
            <a:r>
              <a:rPr lang="en-US" dirty="0" err="1"/>
              <a:t>sapie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rhoncus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ligula </a:t>
            </a:r>
            <a:r>
              <a:rPr lang="en-US" dirty="0" err="1"/>
              <a:t>nunc</a:t>
            </a:r>
            <a:r>
              <a:rPr lang="en-US" dirty="0"/>
              <a:t>, ac </a:t>
            </a:r>
            <a:r>
              <a:rPr lang="en-US" dirty="0" err="1"/>
              <a:t>auctor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a. </a:t>
            </a:r>
            <a:r>
              <a:rPr lang="en-US" dirty="0" err="1"/>
              <a:t>Suspendisse</a:t>
            </a:r>
            <a:r>
              <a:rPr lang="en-US" dirty="0"/>
              <a:t> ex mi, </a:t>
            </a:r>
            <a:r>
              <a:rPr lang="en-US" dirty="0" err="1"/>
              <a:t>imperdiet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,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viverra</a:t>
            </a:r>
            <a:r>
              <a:rPr lang="en-US" dirty="0"/>
              <a:t> lorem.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77584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3" name="SmartArt Placeholder 2"/>
          <p:cNvSpPr>
            <a:spLocks noGrp="1"/>
          </p:cNvSpPr>
          <p:nvPr>
            <p:ph type="dgm" sz="quarter" idx="13" hasCustomPrompt="1"/>
          </p:nvPr>
        </p:nvSpPr>
        <p:spPr>
          <a:xfrm>
            <a:off x="5225143" y="696913"/>
            <a:ext cx="3659145" cy="3933825"/>
          </a:xfrm>
        </p:spPr>
        <p:txBody>
          <a:bodyPr/>
          <a:lstStyle>
            <a:lvl1pPr marL="0" indent="0" algn="ctr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Infographics/SmartArt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6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34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" name="TextBox 34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36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28" name="Oval 27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29" name="Oval 28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29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30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31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579843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8130" y="254000"/>
            <a:ext cx="5245100" cy="520700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Map</a:t>
            </a:r>
          </a:p>
        </p:txBody>
      </p:sp>
      <p:sp>
        <p:nvSpPr>
          <p:cNvPr id="15" name="Text Placeholder 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87198" y="874485"/>
            <a:ext cx="4025901" cy="943164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2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Body copy in 12pt. 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</p:txBody>
      </p:sp>
      <p:sp>
        <p:nvSpPr>
          <p:cNvPr id="16" name="Text Placeholder 2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278130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pic>
        <p:nvPicPr>
          <p:cNvPr id="17" name="Map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6559" y="542375"/>
            <a:ext cx="4720038" cy="3115225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4541202" y="3808276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4572000" y="3951151"/>
            <a:ext cx="1361770" cy="123111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.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6008052" y="3808276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6038850" y="3951151"/>
            <a:ext cx="1361770" cy="123111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.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1" hasCustomPrompt="1"/>
          </p:nvPr>
        </p:nvSpPr>
        <p:spPr>
          <a:xfrm>
            <a:off x="7493952" y="3808276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7524750" y="3951151"/>
            <a:ext cx="1361770" cy="123111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.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4541202" y="4151176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4572000" y="4294051"/>
            <a:ext cx="1361770" cy="123111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.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6008052" y="4151176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6038850" y="4294051"/>
            <a:ext cx="1361770" cy="123111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.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37" hasCustomPrompt="1"/>
          </p:nvPr>
        </p:nvSpPr>
        <p:spPr>
          <a:xfrm>
            <a:off x="7493952" y="4151176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7524750" y="4294051"/>
            <a:ext cx="1361770" cy="123111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.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39" hasCustomPrompt="1"/>
          </p:nvPr>
        </p:nvSpPr>
        <p:spPr>
          <a:xfrm>
            <a:off x="287198" y="2695541"/>
            <a:ext cx="1963055" cy="431074"/>
          </a:xfrm>
        </p:spPr>
        <p:txBody>
          <a:bodyPr lIns="0" tIns="0" rIns="0" bIns="0"/>
          <a:lstStyle>
            <a:lvl1pPr marL="171450" indent="-17145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lang="en-US" sz="9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Bulletpoints</a:t>
            </a:r>
            <a:r>
              <a:rPr lang="en-US" dirty="0"/>
              <a:t> in minimum of 18pt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41" hasCustomPrompt="1"/>
          </p:nvPr>
        </p:nvSpPr>
        <p:spPr>
          <a:xfrm>
            <a:off x="4776469" y="1277751"/>
            <a:ext cx="390843" cy="388006"/>
          </a:xfrm>
          <a:prstGeom prst="ellipse">
            <a:avLst/>
          </a:prstGeom>
          <a:solidFill>
            <a:schemeClr val="accent1"/>
          </a:solidFill>
        </p:spPr>
        <p:txBody>
          <a:bodyPr lIns="0" rIns="0" anchor="ctr" anchorCtr="0"/>
          <a:lstStyle>
            <a:lvl1pPr marL="0" indent="0" algn="ctr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lang="en-US" sz="800" b="0" u="sng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9" name="Text Placeholder 2"/>
          <p:cNvSpPr>
            <a:spLocks noGrp="1"/>
          </p:cNvSpPr>
          <p:nvPr>
            <p:ph type="body" sz="quarter" idx="42" hasCustomPrompt="1"/>
          </p:nvPr>
        </p:nvSpPr>
        <p:spPr>
          <a:xfrm>
            <a:off x="6552294" y="1197316"/>
            <a:ext cx="390843" cy="388006"/>
          </a:xfrm>
          <a:prstGeom prst="ellipse">
            <a:avLst/>
          </a:prstGeom>
          <a:solidFill>
            <a:schemeClr val="accent5"/>
          </a:solidFill>
        </p:spPr>
        <p:txBody>
          <a:bodyPr lIns="0" rIns="0" anchor="ctr" anchorCtr="0"/>
          <a:lstStyle>
            <a:lvl1pPr marL="0" indent="0" algn="ctr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lang="en-US" sz="800" b="0" u="sng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43" hasCustomPrompt="1"/>
          </p:nvPr>
        </p:nvSpPr>
        <p:spPr>
          <a:xfrm>
            <a:off x="7044205" y="1471754"/>
            <a:ext cx="390843" cy="388006"/>
          </a:xfrm>
          <a:prstGeom prst="ellipse">
            <a:avLst/>
          </a:prstGeom>
          <a:solidFill>
            <a:schemeClr val="accent2"/>
          </a:solidFill>
        </p:spPr>
        <p:txBody>
          <a:bodyPr lIns="0" rIns="0" anchor="ctr" anchorCtr="0"/>
          <a:lstStyle>
            <a:lvl1pPr marL="0" indent="0" algn="ctr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lang="en-US" sz="800" b="0" u="sng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sz="quarter" idx="44" hasCustomPrompt="1"/>
          </p:nvPr>
        </p:nvSpPr>
        <p:spPr>
          <a:xfrm>
            <a:off x="5648007" y="2245350"/>
            <a:ext cx="390843" cy="388006"/>
          </a:xfrm>
          <a:prstGeom prst="ellipse">
            <a:avLst/>
          </a:prstGeom>
          <a:solidFill>
            <a:schemeClr val="accent6"/>
          </a:solidFill>
        </p:spPr>
        <p:txBody>
          <a:bodyPr lIns="0" rIns="0" anchor="ctr" anchorCtr="0"/>
          <a:lstStyle>
            <a:lvl1pPr marL="0" indent="0" algn="ctr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lang="en-US" sz="800" b="0" u="sng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2" name="Text Placeholder 2"/>
          <p:cNvSpPr>
            <a:spLocks noGrp="1"/>
          </p:cNvSpPr>
          <p:nvPr>
            <p:ph type="body" sz="quarter" idx="45" hasCustomPrompt="1"/>
          </p:nvPr>
        </p:nvSpPr>
        <p:spPr>
          <a:xfrm>
            <a:off x="7665244" y="1743700"/>
            <a:ext cx="390843" cy="388006"/>
          </a:xfrm>
          <a:prstGeom prst="ellipse">
            <a:avLst/>
          </a:prstGeom>
          <a:solidFill>
            <a:schemeClr val="accent4"/>
          </a:solidFill>
        </p:spPr>
        <p:txBody>
          <a:bodyPr lIns="0" rIns="0" anchor="ctr" anchorCtr="0"/>
          <a:lstStyle>
            <a:lvl1pPr marL="0" indent="0" algn="ctr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lang="en-US" sz="800" b="0" u="sng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4" name="Text Placeholder 2"/>
          <p:cNvSpPr>
            <a:spLocks noGrp="1"/>
          </p:cNvSpPr>
          <p:nvPr>
            <p:ph type="body" sz="quarter" idx="46" hasCustomPrompt="1"/>
          </p:nvPr>
        </p:nvSpPr>
        <p:spPr>
          <a:xfrm>
            <a:off x="7953949" y="1355694"/>
            <a:ext cx="390843" cy="388006"/>
          </a:xfrm>
          <a:prstGeom prst="ellipse">
            <a:avLst/>
          </a:prstGeom>
          <a:solidFill>
            <a:schemeClr val="accent3"/>
          </a:solidFill>
        </p:spPr>
        <p:txBody>
          <a:bodyPr lIns="0" rIns="0" anchor="ctr" anchorCtr="0"/>
          <a:lstStyle>
            <a:lvl1pPr marL="0" indent="0" algn="ctr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lang="en-US" sz="800" b="0" u="sng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sz="quarter" idx="47" hasCustomPrompt="1"/>
          </p:nvPr>
        </p:nvSpPr>
        <p:spPr>
          <a:xfrm>
            <a:off x="287198" y="3229894"/>
            <a:ext cx="1963055" cy="295819"/>
          </a:xfrm>
        </p:spPr>
        <p:txBody>
          <a:bodyPr lIns="0" tIns="0" rIns="0" bIns="0"/>
          <a:lstStyle>
            <a:lvl1pPr marL="171450" indent="-17145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lang="en-US" sz="9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</p:txBody>
      </p:sp>
      <p:sp>
        <p:nvSpPr>
          <p:cNvPr id="46" name="Text Placeholder 2"/>
          <p:cNvSpPr>
            <a:spLocks noGrp="1"/>
          </p:cNvSpPr>
          <p:nvPr>
            <p:ph type="body" sz="quarter" idx="48" hasCustomPrompt="1"/>
          </p:nvPr>
        </p:nvSpPr>
        <p:spPr>
          <a:xfrm>
            <a:off x="287198" y="3628992"/>
            <a:ext cx="1963055" cy="570139"/>
          </a:xfrm>
        </p:spPr>
        <p:txBody>
          <a:bodyPr lIns="0" tIns="0" rIns="0" bIns="0"/>
          <a:lstStyle>
            <a:lvl1pPr marL="171450" indent="-17145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lang="en-US" sz="9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52" name="Text Placeholder 2"/>
          <p:cNvSpPr>
            <a:spLocks noGrp="1"/>
          </p:cNvSpPr>
          <p:nvPr>
            <p:ph type="body" sz="quarter" idx="49" hasCustomPrompt="1"/>
          </p:nvPr>
        </p:nvSpPr>
        <p:spPr>
          <a:xfrm>
            <a:off x="2350044" y="2695541"/>
            <a:ext cx="1963055" cy="431074"/>
          </a:xfrm>
        </p:spPr>
        <p:txBody>
          <a:bodyPr lIns="0" tIns="0" rIns="0" bIns="0"/>
          <a:lstStyle>
            <a:lvl1pPr marL="171450" indent="-17145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lang="en-US" sz="9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 dirty="0"/>
              <a:t>Tempus eu </a:t>
            </a:r>
            <a:r>
              <a:rPr lang="fr-FR" dirty="0" err="1"/>
              <a:t>orci</a:t>
            </a:r>
            <a:r>
              <a:rPr lang="fr-FR" dirty="0"/>
              <a:t> in, </a:t>
            </a:r>
            <a:r>
              <a:rPr lang="fr-FR" dirty="0" err="1"/>
              <a:t>consectetur</a:t>
            </a:r>
            <a:r>
              <a:rPr lang="fr-FR" dirty="0"/>
              <a:t> </a:t>
            </a:r>
            <a:r>
              <a:rPr lang="fr-FR" dirty="0" err="1"/>
              <a:t>congue</a:t>
            </a:r>
            <a:r>
              <a:rPr lang="fr-FR" dirty="0"/>
              <a:t> </a:t>
            </a:r>
            <a:r>
              <a:rPr lang="fr-FR" dirty="0" err="1"/>
              <a:t>felis</a:t>
            </a:r>
            <a:r>
              <a:rPr lang="fr-FR" dirty="0"/>
              <a:t>. </a:t>
            </a:r>
            <a:r>
              <a:rPr lang="fr-FR" dirty="0" err="1"/>
              <a:t>Donec</a:t>
            </a:r>
            <a:r>
              <a:rPr lang="fr-FR" dirty="0"/>
              <a:t> ut </a:t>
            </a:r>
            <a:r>
              <a:rPr lang="fr-FR" dirty="0" err="1"/>
              <a:t>augue</a:t>
            </a:r>
            <a:r>
              <a:rPr lang="fr-FR" dirty="0"/>
              <a:t> et </a:t>
            </a:r>
            <a:r>
              <a:rPr lang="fr-FR" dirty="0" err="1"/>
              <a:t>sapien</a:t>
            </a:r>
            <a:r>
              <a:rPr lang="fr-FR" dirty="0"/>
              <a:t> </a:t>
            </a:r>
            <a:r>
              <a:rPr lang="fr-FR" dirty="0" err="1"/>
              <a:t>mattis</a:t>
            </a:r>
            <a:r>
              <a:rPr lang="fr-FR" dirty="0"/>
              <a:t> </a:t>
            </a:r>
            <a:r>
              <a:rPr lang="fr-FR" dirty="0" err="1"/>
              <a:t>scelerisque</a:t>
            </a:r>
            <a:r>
              <a:rPr lang="fr-FR" dirty="0"/>
              <a:t>. </a:t>
            </a:r>
          </a:p>
        </p:txBody>
      </p:sp>
      <p:sp>
        <p:nvSpPr>
          <p:cNvPr id="53" name="Text Placeholder 2"/>
          <p:cNvSpPr>
            <a:spLocks noGrp="1"/>
          </p:cNvSpPr>
          <p:nvPr>
            <p:ph type="body" sz="quarter" idx="50" hasCustomPrompt="1"/>
          </p:nvPr>
        </p:nvSpPr>
        <p:spPr>
          <a:xfrm>
            <a:off x="2350044" y="3229894"/>
            <a:ext cx="1963055" cy="295819"/>
          </a:xfrm>
        </p:spPr>
        <p:txBody>
          <a:bodyPr lIns="0" tIns="0" rIns="0" bIns="0"/>
          <a:lstStyle>
            <a:lvl1pPr marL="171450" indent="-17145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lang="en-US" sz="9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it-IT" dirty="0"/>
              <a:t>Curabitur eget nunc vitae orci commodo accumsan.</a:t>
            </a:r>
            <a:endParaRPr lang="en-US" dirty="0"/>
          </a:p>
        </p:txBody>
      </p:sp>
      <p:sp>
        <p:nvSpPr>
          <p:cNvPr id="54" name="Text Placeholder 2"/>
          <p:cNvSpPr>
            <a:spLocks noGrp="1"/>
          </p:cNvSpPr>
          <p:nvPr>
            <p:ph type="body" sz="quarter" idx="51" hasCustomPrompt="1"/>
          </p:nvPr>
        </p:nvSpPr>
        <p:spPr>
          <a:xfrm>
            <a:off x="2350044" y="3628992"/>
            <a:ext cx="1963055" cy="570139"/>
          </a:xfrm>
        </p:spPr>
        <p:txBody>
          <a:bodyPr lIns="0" tIns="0" rIns="0" bIns="0"/>
          <a:lstStyle>
            <a:lvl1pPr marL="171450" indent="-17145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lang="en-US" sz="9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56" name="Text Placeholder 2"/>
          <p:cNvSpPr>
            <a:spLocks noGrp="1"/>
          </p:cNvSpPr>
          <p:nvPr>
            <p:ph type="body" sz="quarter" idx="52" hasCustomPrompt="1"/>
          </p:nvPr>
        </p:nvSpPr>
        <p:spPr>
          <a:xfrm>
            <a:off x="287198" y="1855792"/>
            <a:ext cx="4025901" cy="720140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2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et dui convallis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lorem </a:t>
            </a:r>
            <a:r>
              <a:rPr lang="en-US" dirty="0" err="1"/>
              <a:t>volutpat</a:t>
            </a:r>
            <a:r>
              <a:rPr lang="en-US" dirty="0"/>
              <a:t>. Integer non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acinia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60" name="Rectangle 59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1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69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0" name="TextBox 69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71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57" name="Group 56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58" name="Oval 57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59" name="Oval 58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Oval 62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63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Oval 64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26046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ime Pla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9"/>
          <p:cNvSpPr>
            <a:spLocks noGrp="1"/>
          </p:cNvSpPr>
          <p:nvPr>
            <p:ph type="pic" sz="quarter" idx="52" hasCustomPrompt="1"/>
          </p:nvPr>
        </p:nvSpPr>
        <p:spPr>
          <a:xfrm>
            <a:off x="283027" y="809262"/>
            <a:ext cx="8601262" cy="395042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None/>
              <a:defRPr sz="14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here to insert a Time Plan</a:t>
            </a:r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2368263" y="1221193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 algn="ctr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 Placeholder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3835113" y="1221193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 algn="ctr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 Placeholder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1" hasCustomPrompt="1"/>
          </p:nvPr>
        </p:nvSpPr>
        <p:spPr>
          <a:xfrm>
            <a:off x="5321013" y="1221193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 algn="ctr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 Placeholder</a:t>
            </a:r>
          </a:p>
        </p:txBody>
      </p:sp>
      <p:sp>
        <p:nvSpPr>
          <p:cNvPr id="47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83026" y="254000"/>
            <a:ext cx="5245100" cy="533400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Simple time plan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2368263" y="4209720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 algn="ctr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 Placeholder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54" hasCustomPrompt="1"/>
          </p:nvPr>
        </p:nvSpPr>
        <p:spPr>
          <a:xfrm>
            <a:off x="3835113" y="4209720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 algn="ctr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 Placeholder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55" hasCustomPrompt="1"/>
          </p:nvPr>
        </p:nvSpPr>
        <p:spPr>
          <a:xfrm>
            <a:off x="5321013" y="4209720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 algn="ctr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 Placeholder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77584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30" name="Rectangle 29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1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40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1" name="TextBox 40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42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34" name="Oval 33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35" name="Oval 34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Oval 35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Oval 36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Oval 38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548101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imeline/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9"/>
          <p:cNvSpPr>
            <a:spLocks noGrp="1"/>
          </p:cNvSpPr>
          <p:nvPr>
            <p:ph type="pic" sz="quarter" idx="52" hasCustomPrompt="1"/>
          </p:nvPr>
        </p:nvSpPr>
        <p:spPr>
          <a:xfrm>
            <a:off x="3378200" y="809262"/>
            <a:ext cx="5525295" cy="395042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None/>
              <a:defRPr sz="14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here to insert a Timeline/Roadmap</a:t>
            </a:r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4096702" y="1221193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 algn="ctr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 Placeholder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5563552" y="1221193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 algn="ctr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 Placeholder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1" hasCustomPrompt="1"/>
          </p:nvPr>
        </p:nvSpPr>
        <p:spPr>
          <a:xfrm>
            <a:off x="7049452" y="1221193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 algn="ctr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 Placeholder</a:t>
            </a:r>
          </a:p>
        </p:txBody>
      </p:sp>
      <p:sp>
        <p:nvSpPr>
          <p:cNvPr id="47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63070" y="254000"/>
            <a:ext cx="5300482" cy="903023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Timeline/Roadmap with text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4096702" y="4209720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 algn="ctr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 Placeholder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54" hasCustomPrompt="1"/>
          </p:nvPr>
        </p:nvSpPr>
        <p:spPr>
          <a:xfrm>
            <a:off x="5563552" y="4209720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 algn="ctr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 Placeholder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55" hasCustomPrompt="1"/>
          </p:nvPr>
        </p:nvSpPr>
        <p:spPr>
          <a:xfrm>
            <a:off x="7049452" y="4209720"/>
            <a:ext cx="1392568" cy="123111"/>
          </a:xfrm>
        </p:spPr>
        <p:txBody>
          <a:bodyPr wrap="square" lIns="0" tIns="0" rIns="0" bIns="0">
            <a:noAutofit/>
          </a:bodyPr>
          <a:lstStyle>
            <a:lvl1pPr marL="0" indent="0" algn="ctr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 Placeholder</a:t>
            </a:r>
          </a:p>
        </p:txBody>
      </p:sp>
      <p:sp>
        <p:nvSpPr>
          <p:cNvPr id="50" name="Text Placeholder 2"/>
          <p:cNvSpPr>
            <a:spLocks noGrp="1"/>
          </p:cNvSpPr>
          <p:nvPr>
            <p:ph type="body" sz="quarter" idx="41" hasCustomPrompt="1"/>
          </p:nvPr>
        </p:nvSpPr>
        <p:spPr>
          <a:xfrm>
            <a:off x="203200" y="1286353"/>
            <a:ext cx="654050" cy="649302"/>
          </a:xfrm>
          <a:prstGeom prst="ellipse">
            <a:avLst/>
          </a:prstGeom>
          <a:solidFill>
            <a:schemeClr val="accent6">
              <a:alpha val="60000"/>
            </a:schemeClr>
          </a:solidFill>
          <a:ln>
            <a:noFill/>
          </a:ln>
        </p:spPr>
        <p:txBody>
          <a:bodyPr lIns="0" rIns="0" anchor="ctr" anchorCtr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lang="en-US" sz="800" b="0" u="sng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56" hasCustomPrompt="1"/>
          </p:nvPr>
        </p:nvSpPr>
        <p:spPr>
          <a:xfrm>
            <a:off x="704055" y="1348393"/>
            <a:ext cx="2048669" cy="215444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oint 1</a:t>
            </a: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704055" y="1569212"/>
            <a:ext cx="2048669" cy="615553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endParaRPr lang="en-US" dirty="0"/>
          </a:p>
        </p:txBody>
      </p:sp>
      <p:sp>
        <p:nvSpPr>
          <p:cNvPr id="56" name="Text Placeholder 2"/>
          <p:cNvSpPr>
            <a:spLocks noGrp="1"/>
          </p:cNvSpPr>
          <p:nvPr>
            <p:ph type="body" sz="quarter" idx="57" hasCustomPrompt="1"/>
          </p:nvPr>
        </p:nvSpPr>
        <p:spPr>
          <a:xfrm>
            <a:off x="203200" y="2343628"/>
            <a:ext cx="654050" cy="649302"/>
          </a:xfrm>
          <a:prstGeom prst="ellipse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txBody>
          <a:bodyPr lIns="0" rIns="0" anchor="ctr" anchorCtr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lang="en-US" sz="800" b="0" u="sng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7" name="Text Placeholder 3"/>
          <p:cNvSpPr>
            <a:spLocks noGrp="1"/>
          </p:cNvSpPr>
          <p:nvPr>
            <p:ph type="body" sz="quarter" idx="58" hasCustomPrompt="1"/>
          </p:nvPr>
        </p:nvSpPr>
        <p:spPr>
          <a:xfrm>
            <a:off x="704055" y="2405668"/>
            <a:ext cx="2048669" cy="215444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oint 2</a:t>
            </a:r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59" hasCustomPrompt="1"/>
          </p:nvPr>
        </p:nvSpPr>
        <p:spPr>
          <a:xfrm>
            <a:off x="704055" y="2626487"/>
            <a:ext cx="2048669" cy="615553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endParaRPr lang="en-US" dirty="0"/>
          </a:p>
        </p:txBody>
      </p:sp>
      <p:sp>
        <p:nvSpPr>
          <p:cNvPr id="59" name="Text Placeholder 2"/>
          <p:cNvSpPr>
            <a:spLocks noGrp="1"/>
          </p:cNvSpPr>
          <p:nvPr>
            <p:ph type="body" sz="quarter" idx="60" hasCustomPrompt="1"/>
          </p:nvPr>
        </p:nvSpPr>
        <p:spPr>
          <a:xfrm>
            <a:off x="203200" y="3425296"/>
            <a:ext cx="654050" cy="649302"/>
          </a:xfrm>
          <a:prstGeom prst="ellipse">
            <a:avLst/>
          </a:prstGeom>
          <a:solidFill>
            <a:schemeClr val="accent5">
              <a:alpha val="60000"/>
            </a:schemeClr>
          </a:solidFill>
          <a:ln>
            <a:noFill/>
          </a:ln>
        </p:spPr>
        <p:txBody>
          <a:bodyPr lIns="0" rIns="0" anchor="ctr" anchorCtr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lang="en-US" sz="800" b="0" u="sng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0" name="Text Placeholder 3"/>
          <p:cNvSpPr>
            <a:spLocks noGrp="1"/>
          </p:cNvSpPr>
          <p:nvPr>
            <p:ph type="body" sz="quarter" idx="61" hasCustomPrompt="1"/>
          </p:nvPr>
        </p:nvSpPr>
        <p:spPr>
          <a:xfrm>
            <a:off x="704055" y="3487336"/>
            <a:ext cx="2048669" cy="215444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oint 3</a:t>
            </a:r>
          </a:p>
        </p:txBody>
      </p:sp>
      <p:sp>
        <p:nvSpPr>
          <p:cNvPr id="61" name="Text Placeholder 3"/>
          <p:cNvSpPr>
            <a:spLocks noGrp="1"/>
          </p:cNvSpPr>
          <p:nvPr>
            <p:ph type="body" sz="quarter" idx="62" hasCustomPrompt="1"/>
          </p:nvPr>
        </p:nvSpPr>
        <p:spPr>
          <a:xfrm>
            <a:off x="704055" y="3708155"/>
            <a:ext cx="2048669" cy="615553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endParaRPr lang="en-US" dirty="0"/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77584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39" name="Rectangle 38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0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54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TextBox 61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63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44" name="Oval 43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45" name="Oval 44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Oval 45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Oval 51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Oval 52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538877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4"/>
          <p:cNvSpPr>
            <a:spLocks noGrp="1"/>
          </p:cNvSpPr>
          <p:nvPr>
            <p:ph type="pic" sz="quarter" idx="36" hasCustomPrompt="1"/>
          </p:nvPr>
        </p:nvSpPr>
        <p:spPr>
          <a:xfrm>
            <a:off x="4303714" y="0"/>
            <a:ext cx="3499859" cy="4884738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Wingdings" pitchFamily="2" charset="2"/>
              <a:buNone/>
              <a:tabLst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Click here to </a:t>
            </a:r>
            <a:br>
              <a:rPr lang="en-US" dirty="0"/>
            </a:br>
            <a:r>
              <a:rPr lang="en-US" dirty="0"/>
              <a:t>add Color Image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6221676" y="0"/>
            <a:ext cx="2921000" cy="4889255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7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416" y="254000"/>
            <a:ext cx="3835400" cy="909593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in two lines</a:t>
            </a:r>
          </a:p>
        </p:txBody>
      </p:sp>
      <p:sp>
        <p:nvSpPr>
          <p:cNvPr id="24" name="Text Placeholder 38"/>
          <p:cNvSpPr>
            <a:spLocks noGrp="1"/>
          </p:cNvSpPr>
          <p:nvPr>
            <p:ph type="body" sz="quarter" idx="15" hasCustomPrompt="1"/>
          </p:nvPr>
        </p:nvSpPr>
        <p:spPr>
          <a:xfrm>
            <a:off x="226059" y="2231277"/>
            <a:ext cx="337820" cy="336930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Font typeface="Arial" pitchFamily="34" charset="0"/>
              <a:buNone/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02141" y="2496914"/>
            <a:ext cx="3310548" cy="502381"/>
          </a:xfrm>
        </p:spPr>
        <p:txBody>
          <a:bodyPr tIns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pt-BR" dirty="0"/>
              <a:t>Tempus eu orci in, consectetur congue felis. Donec ut augue et sapien mattis scelerisque. Curabitur eget nunc vitae orci commodo accumsan. </a:t>
            </a:r>
          </a:p>
        </p:txBody>
      </p:sp>
      <p:sp>
        <p:nvSpPr>
          <p:cNvPr id="4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71416" y="1295399"/>
            <a:ext cx="3686630" cy="685801"/>
          </a:xfrm>
        </p:spPr>
        <p:txBody>
          <a:bodyPr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mpus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n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et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mat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vitae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</p:txBody>
      </p:sp>
      <p:sp>
        <p:nvSpPr>
          <p:cNvPr id="49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602141" y="2281009"/>
            <a:ext cx="3310548" cy="182563"/>
          </a:xfrm>
        </p:spPr>
        <p:txBody>
          <a:bodyPr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Business Context</a:t>
            </a:r>
          </a:p>
        </p:txBody>
      </p:sp>
      <p:sp>
        <p:nvSpPr>
          <p:cNvPr id="26" name="Text Placeholder 38"/>
          <p:cNvSpPr>
            <a:spLocks noGrp="1"/>
          </p:cNvSpPr>
          <p:nvPr>
            <p:ph type="body" sz="quarter" idx="27" hasCustomPrompt="1"/>
          </p:nvPr>
        </p:nvSpPr>
        <p:spPr>
          <a:xfrm>
            <a:off x="226059" y="3155214"/>
            <a:ext cx="337820" cy="336930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Font typeface="Arial" pitchFamily="34" charset="0"/>
              <a:buNone/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602141" y="3371119"/>
            <a:ext cx="3310548" cy="502381"/>
          </a:xfrm>
        </p:spPr>
        <p:txBody>
          <a:bodyPr tIns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pt-BR" dirty="0"/>
              <a:t>Tempus eu orci in, consectetur congue felis. Donec ut augue et sapien mattis scelerisque. Curabitur eget nunc vitae orci commodo accumsan. 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602141" y="3155214"/>
            <a:ext cx="3310548" cy="182563"/>
          </a:xfrm>
        </p:spPr>
        <p:txBody>
          <a:bodyPr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olution Approach</a:t>
            </a:r>
          </a:p>
        </p:txBody>
      </p:sp>
      <p:sp>
        <p:nvSpPr>
          <p:cNvPr id="35" name="Text Placeholder 38"/>
          <p:cNvSpPr>
            <a:spLocks noGrp="1"/>
          </p:cNvSpPr>
          <p:nvPr>
            <p:ph type="body" sz="quarter" idx="30" hasCustomPrompt="1"/>
          </p:nvPr>
        </p:nvSpPr>
        <p:spPr>
          <a:xfrm>
            <a:off x="226059" y="3994800"/>
            <a:ext cx="337820" cy="336930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Font typeface="Arial" pitchFamily="34" charset="0"/>
              <a:buNone/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31" hasCustomPrompt="1"/>
          </p:nvPr>
        </p:nvSpPr>
        <p:spPr>
          <a:xfrm>
            <a:off x="602141" y="4247419"/>
            <a:ext cx="3310548" cy="502381"/>
          </a:xfrm>
        </p:spPr>
        <p:txBody>
          <a:bodyPr tIns="0"/>
          <a:lstStyle>
            <a:lvl1pPr marL="0" indent="0" algn="l" defTabSz="1828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0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pt-BR" dirty="0"/>
              <a:t>Tempus eu orci in, consectetur congue felis. Donec ut augue et sapien mattis scelerisque. Curabitur eget nunc vitae orci commodo accumsan. 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602141" y="4031514"/>
            <a:ext cx="3310548" cy="182563"/>
          </a:xfrm>
        </p:spPr>
        <p:txBody>
          <a:bodyPr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Benefits Delivered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sz="quarter" idx="33" hasCustomPrompt="1"/>
          </p:nvPr>
        </p:nvSpPr>
        <p:spPr>
          <a:xfrm>
            <a:off x="6498663" y="931094"/>
            <a:ext cx="2400140" cy="3131640"/>
          </a:xfrm>
        </p:spPr>
        <p:txBody>
          <a:bodyPr tIns="0"/>
          <a:lstStyle>
            <a:lvl1pPr marL="171450" indent="-171450" algn="l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en-US" sz="700" b="0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pt-BR" dirty="0"/>
              <a:t>Side notes</a:t>
            </a:r>
            <a:br>
              <a:rPr lang="pt-BR" dirty="0"/>
            </a:br>
            <a:r>
              <a:rPr lang="pt-BR" dirty="0"/>
              <a:t>Tempus eu orci in, consectetur congue felis. Donec ut augue et sapien mattis scelerisque. Curabitur eget nunc vitae orci commodo accumsan. </a:t>
            </a:r>
          </a:p>
          <a:p>
            <a:pPr lvl="0"/>
            <a:r>
              <a:rPr lang="pt-BR" dirty="0"/>
              <a:t>Side notes</a:t>
            </a:r>
            <a:br>
              <a:rPr lang="pt-BR" dirty="0"/>
            </a:br>
            <a:r>
              <a:rPr lang="pt-BR" dirty="0"/>
              <a:t>Tempus eu orci in, consectetur congue felis. Donec ut augue et sapien mattis scelerisque. Curabitur eget nunc vitae orci commodo accumsan. </a:t>
            </a:r>
          </a:p>
          <a:p>
            <a:pPr lvl="0"/>
            <a:r>
              <a:rPr lang="pt-BR" dirty="0"/>
              <a:t>Side notes</a:t>
            </a:r>
            <a:br>
              <a:rPr lang="pt-BR" dirty="0"/>
            </a:br>
            <a:r>
              <a:rPr lang="pt-BR" dirty="0"/>
              <a:t>Tempus eu orci in, consectetur congue felis. Donec ut augue et sapien mattis scelerisque. Curabitur eget nunc vitae orci commodo accumsan. </a:t>
            </a:r>
          </a:p>
          <a:p>
            <a:pPr lvl="0"/>
            <a:r>
              <a:rPr lang="pt-BR" dirty="0"/>
              <a:t>Side notes</a:t>
            </a:r>
            <a:br>
              <a:rPr lang="pt-BR" dirty="0"/>
            </a:br>
            <a:r>
              <a:rPr lang="pt-BR" dirty="0"/>
              <a:t>Tempus eu orci in, consectetur congue felis. Donec ut augue et sapien mattis scelerisque. Curabitur eget nunc vitae orci commodo accumsan. </a:t>
            </a:r>
          </a:p>
          <a:p>
            <a:pPr lvl="0"/>
            <a:r>
              <a:rPr lang="pt-BR" dirty="0"/>
              <a:t>Side notes</a:t>
            </a:r>
            <a:br>
              <a:rPr lang="pt-BR" dirty="0"/>
            </a:br>
            <a:r>
              <a:rPr lang="pt-BR" dirty="0"/>
              <a:t>Tempus eu orci in, consectetur congue felis. Donec ut augue et sapien mattis scelerisque. Curabitur eget nunc vitae orci commodo accumsan. </a:t>
            </a:r>
          </a:p>
          <a:p>
            <a:pPr lvl="0"/>
            <a:r>
              <a:rPr lang="pt-BR" dirty="0"/>
              <a:t>Side notes</a:t>
            </a:r>
            <a:br>
              <a:rPr lang="pt-BR" dirty="0"/>
            </a:br>
            <a:r>
              <a:rPr lang="pt-BR" dirty="0"/>
              <a:t>Tempus eu orci in, consectetur congue felis. Donec ut augue et sapien mattis scelerisque. Curabitur eget nunc vitae orci commodo accumsan. </a:t>
            </a:r>
          </a:p>
        </p:txBody>
      </p:sp>
      <p:sp>
        <p:nvSpPr>
          <p:cNvPr id="39" name="Text Placeholder 2"/>
          <p:cNvSpPr>
            <a:spLocks noGrp="1"/>
          </p:cNvSpPr>
          <p:nvPr>
            <p:ph type="body" sz="quarter" idx="34" hasCustomPrompt="1"/>
          </p:nvPr>
        </p:nvSpPr>
        <p:spPr>
          <a:xfrm>
            <a:off x="6498663" y="664389"/>
            <a:ext cx="2400140" cy="182563"/>
          </a:xfrm>
        </p:spPr>
        <p:txBody>
          <a:bodyPr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2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Value Wipro brings</a:t>
            </a:r>
          </a:p>
        </p:txBody>
      </p:sp>
      <p:sp>
        <p:nvSpPr>
          <p:cNvPr id="3" name="Media Placeholder 2"/>
          <p:cNvSpPr>
            <a:spLocks noGrp="1"/>
          </p:cNvSpPr>
          <p:nvPr>
            <p:ph type="media" sz="quarter" idx="35" hasCustomPrompt="1"/>
          </p:nvPr>
        </p:nvSpPr>
        <p:spPr>
          <a:xfrm>
            <a:off x="6498663" y="4128262"/>
            <a:ext cx="652955" cy="650994"/>
          </a:xfrm>
          <a:prstGeom prst="ellipse">
            <a:avLst/>
          </a:prstGeom>
          <a:noFill/>
        </p:spPr>
        <p:txBody>
          <a:bodyPr/>
          <a:lstStyle>
            <a:lvl1pPr marL="0" indent="0" algn="ctr">
              <a:buFontTx/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View video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77584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50" name="Rectangle 49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1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59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0" name="TextBox 59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61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46" name="Oval 45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53" name="Oval 52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Oval 53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Oval 54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Oval 55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165365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1"/>
          <p:cNvSpPr>
            <a:spLocks noGrp="1"/>
          </p:cNvSpPr>
          <p:nvPr>
            <p:ph type="ctrTitle" hasCustomPrompt="1"/>
          </p:nvPr>
        </p:nvSpPr>
        <p:spPr>
          <a:xfrm>
            <a:off x="271416" y="254000"/>
            <a:ext cx="5245100" cy="558800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Team structure</a:t>
            </a:r>
          </a:p>
        </p:txBody>
      </p:sp>
      <p:sp>
        <p:nvSpPr>
          <p:cNvPr id="21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382322" y="1077588"/>
            <a:ext cx="838200" cy="838200"/>
          </a:xfrm>
          <a:prstGeom prst="ellipse">
            <a:avLst/>
          </a:prstGeom>
          <a:noFill/>
        </p:spPr>
        <p:txBody>
          <a:bodyPr anchor="t">
            <a:noAutofit/>
          </a:bodyPr>
          <a:lstStyle>
            <a:lvl1pPr marL="0" indent="0" algn="ctr">
              <a:buNone/>
              <a:defRPr sz="8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image</a:t>
            </a:r>
            <a:endParaRPr lang="en-IN" dirty="0"/>
          </a:p>
        </p:txBody>
      </p:sp>
      <p:sp>
        <p:nvSpPr>
          <p:cNvPr id="30" name="Pladsholder til tekst 62"/>
          <p:cNvSpPr>
            <a:spLocks noGrp="1"/>
          </p:cNvSpPr>
          <p:nvPr>
            <p:ph type="body" sz="quarter" idx="30" hasCustomPrompt="1"/>
          </p:nvPr>
        </p:nvSpPr>
        <p:spPr>
          <a:xfrm>
            <a:off x="382322" y="1937202"/>
            <a:ext cx="1727200" cy="230657"/>
          </a:xfrm>
        </p:spPr>
        <p:txBody>
          <a:bodyPr/>
          <a:lstStyle>
            <a:lvl1pPr marL="0" indent="0" algn="l">
              <a:buNone/>
              <a:defRPr sz="10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Name</a:t>
            </a:r>
          </a:p>
        </p:txBody>
      </p:sp>
      <p:sp>
        <p:nvSpPr>
          <p:cNvPr id="31" name="Pladsholder til tekst 63"/>
          <p:cNvSpPr>
            <a:spLocks noGrp="1"/>
          </p:cNvSpPr>
          <p:nvPr>
            <p:ph type="body" sz="quarter" idx="31" hasCustomPrompt="1"/>
          </p:nvPr>
        </p:nvSpPr>
        <p:spPr>
          <a:xfrm>
            <a:off x="382322" y="2188787"/>
            <a:ext cx="1727200" cy="218100"/>
          </a:xfrm>
        </p:spPr>
        <p:txBody>
          <a:bodyPr/>
          <a:lstStyle>
            <a:lvl1pPr marL="0" indent="0" algn="l">
              <a:buNone/>
              <a:defRPr sz="9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Designation</a:t>
            </a:r>
          </a:p>
        </p:txBody>
      </p:sp>
      <p:sp>
        <p:nvSpPr>
          <p:cNvPr id="33" name="Picture Placeholder 9"/>
          <p:cNvSpPr>
            <a:spLocks noGrp="1"/>
          </p:cNvSpPr>
          <p:nvPr>
            <p:ph type="pic" sz="quarter" idx="33" hasCustomPrompt="1"/>
          </p:nvPr>
        </p:nvSpPr>
        <p:spPr>
          <a:xfrm>
            <a:off x="2605492" y="1077588"/>
            <a:ext cx="838200" cy="838200"/>
          </a:xfrm>
          <a:prstGeom prst="ellipse">
            <a:avLst/>
          </a:prstGeom>
          <a:noFill/>
        </p:spPr>
        <p:txBody>
          <a:bodyPr anchor="t">
            <a:noAutofit/>
          </a:bodyPr>
          <a:lstStyle>
            <a:lvl1pPr marL="0" indent="0" algn="ctr">
              <a:buNone/>
              <a:defRPr sz="8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image</a:t>
            </a:r>
            <a:endParaRPr lang="en-IN" dirty="0"/>
          </a:p>
        </p:txBody>
      </p:sp>
      <p:sp>
        <p:nvSpPr>
          <p:cNvPr id="34" name="Pladsholder til tekst 62"/>
          <p:cNvSpPr>
            <a:spLocks noGrp="1"/>
          </p:cNvSpPr>
          <p:nvPr>
            <p:ph type="body" sz="quarter" idx="34" hasCustomPrompt="1"/>
          </p:nvPr>
        </p:nvSpPr>
        <p:spPr>
          <a:xfrm>
            <a:off x="2605492" y="1937202"/>
            <a:ext cx="1727200" cy="230657"/>
          </a:xfrm>
        </p:spPr>
        <p:txBody>
          <a:bodyPr/>
          <a:lstStyle>
            <a:lvl1pPr marL="0" indent="0" algn="l">
              <a:buNone/>
              <a:defRPr sz="10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Name</a:t>
            </a:r>
          </a:p>
        </p:txBody>
      </p:sp>
      <p:sp>
        <p:nvSpPr>
          <p:cNvPr id="35" name="Pladsholder til tekst 63"/>
          <p:cNvSpPr>
            <a:spLocks noGrp="1"/>
          </p:cNvSpPr>
          <p:nvPr>
            <p:ph type="body" sz="quarter" idx="35" hasCustomPrompt="1"/>
          </p:nvPr>
        </p:nvSpPr>
        <p:spPr>
          <a:xfrm>
            <a:off x="2605492" y="2188787"/>
            <a:ext cx="1727200" cy="218100"/>
          </a:xfrm>
        </p:spPr>
        <p:txBody>
          <a:bodyPr/>
          <a:lstStyle>
            <a:lvl1pPr marL="0" indent="0" algn="l">
              <a:buNone/>
              <a:defRPr sz="9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Designation</a:t>
            </a:r>
          </a:p>
        </p:txBody>
      </p:sp>
      <p:sp>
        <p:nvSpPr>
          <p:cNvPr id="37" name="Picture Placeholder 9"/>
          <p:cNvSpPr>
            <a:spLocks noGrp="1"/>
          </p:cNvSpPr>
          <p:nvPr>
            <p:ph type="pic" sz="quarter" idx="37" hasCustomPrompt="1"/>
          </p:nvPr>
        </p:nvSpPr>
        <p:spPr>
          <a:xfrm>
            <a:off x="4828662" y="1077588"/>
            <a:ext cx="838200" cy="838200"/>
          </a:xfrm>
          <a:prstGeom prst="ellipse">
            <a:avLst/>
          </a:prstGeom>
          <a:noFill/>
        </p:spPr>
        <p:txBody>
          <a:bodyPr anchor="t">
            <a:noAutofit/>
          </a:bodyPr>
          <a:lstStyle>
            <a:lvl1pPr marL="0" indent="0" algn="ctr">
              <a:buNone/>
              <a:defRPr sz="8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image</a:t>
            </a:r>
            <a:endParaRPr lang="en-IN" dirty="0"/>
          </a:p>
        </p:txBody>
      </p:sp>
      <p:sp>
        <p:nvSpPr>
          <p:cNvPr id="38" name="Pladsholder til tekst 62"/>
          <p:cNvSpPr>
            <a:spLocks noGrp="1"/>
          </p:cNvSpPr>
          <p:nvPr>
            <p:ph type="body" sz="quarter" idx="38" hasCustomPrompt="1"/>
          </p:nvPr>
        </p:nvSpPr>
        <p:spPr>
          <a:xfrm>
            <a:off x="4828662" y="1937202"/>
            <a:ext cx="1727200" cy="230657"/>
          </a:xfrm>
        </p:spPr>
        <p:txBody>
          <a:bodyPr/>
          <a:lstStyle>
            <a:lvl1pPr marL="0" indent="0" algn="l">
              <a:buNone/>
              <a:defRPr sz="10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Name</a:t>
            </a:r>
          </a:p>
        </p:txBody>
      </p:sp>
      <p:sp>
        <p:nvSpPr>
          <p:cNvPr id="39" name="Pladsholder til tekst 63"/>
          <p:cNvSpPr>
            <a:spLocks noGrp="1"/>
          </p:cNvSpPr>
          <p:nvPr>
            <p:ph type="body" sz="quarter" idx="39" hasCustomPrompt="1"/>
          </p:nvPr>
        </p:nvSpPr>
        <p:spPr>
          <a:xfrm>
            <a:off x="4828662" y="2188787"/>
            <a:ext cx="1727200" cy="218100"/>
          </a:xfrm>
        </p:spPr>
        <p:txBody>
          <a:bodyPr/>
          <a:lstStyle>
            <a:lvl1pPr marL="0" indent="0" algn="l">
              <a:buNone/>
              <a:defRPr sz="9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Designation</a:t>
            </a:r>
          </a:p>
        </p:txBody>
      </p:sp>
      <p:sp>
        <p:nvSpPr>
          <p:cNvPr id="41" name="Picture Placeholder 9"/>
          <p:cNvSpPr>
            <a:spLocks noGrp="1"/>
          </p:cNvSpPr>
          <p:nvPr>
            <p:ph type="pic" sz="quarter" idx="41" hasCustomPrompt="1"/>
          </p:nvPr>
        </p:nvSpPr>
        <p:spPr>
          <a:xfrm>
            <a:off x="7051832" y="1077588"/>
            <a:ext cx="838200" cy="838200"/>
          </a:xfrm>
          <a:prstGeom prst="ellipse">
            <a:avLst/>
          </a:prstGeom>
          <a:noFill/>
        </p:spPr>
        <p:txBody>
          <a:bodyPr anchor="t">
            <a:noAutofit/>
          </a:bodyPr>
          <a:lstStyle>
            <a:lvl1pPr marL="0" indent="0" algn="ctr">
              <a:buNone/>
              <a:defRPr sz="8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image</a:t>
            </a:r>
            <a:endParaRPr lang="en-IN" dirty="0"/>
          </a:p>
        </p:txBody>
      </p:sp>
      <p:sp>
        <p:nvSpPr>
          <p:cNvPr id="42" name="Pladsholder til tekst 62"/>
          <p:cNvSpPr>
            <a:spLocks noGrp="1"/>
          </p:cNvSpPr>
          <p:nvPr>
            <p:ph type="body" sz="quarter" idx="42" hasCustomPrompt="1"/>
          </p:nvPr>
        </p:nvSpPr>
        <p:spPr>
          <a:xfrm>
            <a:off x="7051832" y="1937202"/>
            <a:ext cx="1727200" cy="230657"/>
          </a:xfrm>
        </p:spPr>
        <p:txBody>
          <a:bodyPr/>
          <a:lstStyle>
            <a:lvl1pPr marL="0" indent="0" algn="l">
              <a:buNone/>
              <a:defRPr sz="10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Name</a:t>
            </a:r>
          </a:p>
          <a:p>
            <a:endParaRPr lang="en-GB" dirty="0"/>
          </a:p>
        </p:txBody>
      </p:sp>
      <p:sp>
        <p:nvSpPr>
          <p:cNvPr id="43" name="Pladsholder til tekst 63"/>
          <p:cNvSpPr>
            <a:spLocks noGrp="1"/>
          </p:cNvSpPr>
          <p:nvPr>
            <p:ph type="body" sz="quarter" idx="43" hasCustomPrompt="1"/>
          </p:nvPr>
        </p:nvSpPr>
        <p:spPr>
          <a:xfrm>
            <a:off x="7051832" y="2188787"/>
            <a:ext cx="1727200" cy="218100"/>
          </a:xfrm>
        </p:spPr>
        <p:txBody>
          <a:bodyPr/>
          <a:lstStyle>
            <a:lvl1pPr marL="0" indent="0" algn="l">
              <a:buNone/>
              <a:defRPr sz="9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Designation</a:t>
            </a:r>
          </a:p>
        </p:txBody>
      </p:sp>
      <p:sp>
        <p:nvSpPr>
          <p:cNvPr id="62" name="Picture Placeholder 9"/>
          <p:cNvSpPr>
            <a:spLocks noGrp="1"/>
          </p:cNvSpPr>
          <p:nvPr>
            <p:ph type="pic" sz="quarter" idx="45" hasCustomPrompt="1"/>
          </p:nvPr>
        </p:nvSpPr>
        <p:spPr>
          <a:xfrm>
            <a:off x="382322" y="3022502"/>
            <a:ext cx="838200" cy="838200"/>
          </a:xfrm>
          <a:prstGeom prst="ellipse">
            <a:avLst/>
          </a:prstGeom>
          <a:noFill/>
        </p:spPr>
        <p:txBody>
          <a:bodyPr anchor="t">
            <a:noAutofit/>
          </a:bodyPr>
          <a:lstStyle>
            <a:lvl1pPr marL="0" indent="0" algn="ctr">
              <a:buNone/>
              <a:defRPr sz="8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image</a:t>
            </a:r>
            <a:endParaRPr lang="en-IN" dirty="0"/>
          </a:p>
        </p:txBody>
      </p:sp>
      <p:sp>
        <p:nvSpPr>
          <p:cNvPr id="63" name="Pladsholder til tekst 62"/>
          <p:cNvSpPr>
            <a:spLocks noGrp="1"/>
          </p:cNvSpPr>
          <p:nvPr>
            <p:ph type="body" sz="quarter" idx="46" hasCustomPrompt="1"/>
          </p:nvPr>
        </p:nvSpPr>
        <p:spPr>
          <a:xfrm>
            <a:off x="382322" y="3882116"/>
            <a:ext cx="1727200" cy="230657"/>
          </a:xfrm>
        </p:spPr>
        <p:txBody>
          <a:bodyPr/>
          <a:lstStyle>
            <a:lvl1pPr marL="0" indent="0" algn="l">
              <a:buNone/>
              <a:defRPr sz="10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Name</a:t>
            </a:r>
          </a:p>
          <a:p>
            <a:endParaRPr lang="en-GB" dirty="0"/>
          </a:p>
        </p:txBody>
      </p:sp>
      <p:sp>
        <p:nvSpPr>
          <p:cNvPr id="64" name="Pladsholder til tekst 63"/>
          <p:cNvSpPr>
            <a:spLocks noGrp="1"/>
          </p:cNvSpPr>
          <p:nvPr>
            <p:ph type="body" sz="quarter" idx="47" hasCustomPrompt="1"/>
          </p:nvPr>
        </p:nvSpPr>
        <p:spPr>
          <a:xfrm>
            <a:off x="382322" y="4133701"/>
            <a:ext cx="1727200" cy="218100"/>
          </a:xfrm>
        </p:spPr>
        <p:txBody>
          <a:bodyPr/>
          <a:lstStyle>
            <a:lvl1pPr marL="0" indent="0" algn="l">
              <a:buNone/>
              <a:defRPr sz="9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Designation</a:t>
            </a:r>
          </a:p>
        </p:txBody>
      </p:sp>
      <p:sp>
        <p:nvSpPr>
          <p:cNvPr id="66" name="Picture Placeholder 9"/>
          <p:cNvSpPr>
            <a:spLocks noGrp="1"/>
          </p:cNvSpPr>
          <p:nvPr>
            <p:ph type="pic" sz="quarter" idx="49" hasCustomPrompt="1"/>
          </p:nvPr>
        </p:nvSpPr>
        <p:spPr>
          <a:xfrm>
            <a:off x="2605492" y="3022502"/>
            <a:ext cx="838200" cy="838200"/>
          </a:xfrm>
          <a:prstGeom prst="ellipse">
            <a:avLst/>
          </a:prstGeom>
          <a:noFill/>
        </p:spPr>
        <p:txBody>
          <a:bodyPr anchor="t">
            <a:noAutofit/>
          </a:bodyPr>
          <a:lstStyle>
            <a:lvl1pPr marL="0" indent="0" algn="ctr">
              <a:buNone/>
              <a:defRPr sz="8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image</a:t>
            </a:r>
            <a:endParaRPr lang="en-IN" dirty="0"/>
          </a:p>
        </p:txBody>
      </p:sp>
      <p:sp>
        <p:nvSpPr>
          <p:cNvPr id="67" name="Pladsholder til tekst 62"/>
          <p:cNvSpPr>
            <a:spLocks noGrp="1"/>
          </p:cNvSpPr>
          <p:nvPr>
            <p:ph type="body" sz="quarter" idx="50" hasCustomPrompt="1"/>
          </p:nvPr>
        </p:nvSpPr>
        <p:spPr>
          <a:xfrm>
            <a:off x="2605492" y="3882116"/>
            <a:ext cx="1727200" cy="230657"/>
          </a:xfrm>
        </p:spPr>
        <p:txBody>
          <a:bodyPr/>
          <a:lstStyle>
            <a:lvl1pPr marL="0" indent="0" algn="l">
              <a:buNone/>
              <a:defRPr sz="10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Name</a:t>
            </a:r>
          </a:p>
        </p:txBody>
      </p:sp>
      <p:sp>
        <p:nvSpPr>
          <p:cNvPr id="68" name="Pladsholder til tekst 63"/>
          <p:cNvSpPr>
            <a:spLocks noGrp="1"/>
          </p:cNvSpPr>
          <p:nvPr>
            <p:ph type="body" sz="quarter" idx="51" hasCustomPrompt="1"/>
          </p:nvPr>
        </p:nvSpPr>
        <p:spPr>
          <a:xfrm>
            <a:off x="2605492" y="4133701"/>
            <a:ext cx="1727200" cy="218100"/>
          </a:xfrm>
        </p:spPr>
        <p:txBody>
          <a:bodyPr/>
          <a:lstStyle>
            <a:lvl1pPr marL="0" indent="0" algn="l">
              <a:buNone/>
              <a:defRPr sz="9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Designation</a:t>
            </a:r>
          </a:p>
        </p:txBody>
      </p:sp>
      <p:sp>
        <p:nvSpPr>
          <p:cNvPr id="70" name="Picture Placeholder 9"/>
          <p:cNvSpPr>
            <a:spLocks noGrp="1"/>
          </p:cNvSpPr>
          <p:nvPr>
            <p:ph type="pic" sz="quarter" idx="53" hasCustomPrompt="1"/>
          </p:nvPr>
        </p:nvSpPr>
        <p:spPr>
          <a:xfrm>
            <a:off x="4828662" y="3022502"/>
            <a:ext cx="838200" cy="838200"/>
          </a:xfrm>
          <a:prstGeom prst="ellipse">
            <a:avLst/>
          </a:prstGeom>
          <a:noFill/>
        </p:spPr>
        <p:txBody>
          <a:bodyPr anchor="t">
            <a:noAutofit/>
          </a:bodyPr>
          <a:lstStyle>
            <a:lvl1pPr marL="0" indent="0" algn="ctr">
              <a:buNone/>
              <a:defRPr sz="8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image</a:t>
            </a:r>
            <a:endParaRPr lang="en-IN" dirty="0"/>
          </a:p>
        </p:txBody>
      </p:sp>
      <p:sp>
        <p:nvSpPr>
          <p:cNvPr id="71" name="Pladsholder til tekst 62"/>
          <p:cNvSpPr>
            <a:spLocks noGrp="1"/>
          </p:cNvSpPr>
          <p:nvPr>
            <p:ph type="body" sz="quarter" idx="54" hasCustomPrompt="1"/>
          </p:nvPr>
        </p:nvSpPr>
        <p:spPr>
          <a:xfrm>
            <a:off x="4828662" y="3882116"/>
            <a:ext cx="1727200" cy="230657"/>
          </a:xfrm>
        </p:spPr>
        <p:txBody>
          <a:bodyPr/>
          <a:lstStyle>
            <a:lvl1pPr marL="0" indent="0" algn="l">
              <a:buNone/>
              <a:defRPr sz="10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Name</a:t>
            </a:r>
          </a:p>
        </p:txBody>
      </p:sp>
      <p:sp>
        <p:nvSpPr>
          <p:cNvPr id="72" name="Pladsholder til tekst 63"/>
          <p:cNvSpPr>
            <a:spLocks noGrp="1"/>
          </p:cNvSpPr>
          <p:nvPr>
            <p:ph type="body" sz="quarter" idx="55" hasCustomPrompt="1"/>
          </p:nvPr>
        </p:nvSpPr>
        <p:spPr>
          <a:xfrm>
            <a:off x="4828662" y="4133701"/>
            <a:ext cx="1727200" cy="218100"/>
          </a:xfrm>
        </p:spPr>
        <p:txBody>
          <a:bodyPr/>
          <a:lstStyle>
            <a:lvl1pPr marL="0" indent="0" algn="l">
              <a:buNone/>
              <a:defRPr sz="9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Designation</a:t>
            </a:r>
          </a:p>
        </p:txBody>
      </p:sp>
      <p:sp>
        <p:nvSpPr>
          <p:cNvPr id="74" name="Picture Placeholder 9"/>
          <p:cNvSpPr>
            <a:spLocks noGrp="1"/>
          </p:cNvSpPr>
          <p:nvPr>
            <p:ph type="pic" sz="quarter" idx="57" hasCustomPrompt="1"/>
          </p:nvPr>
        </p:nvSpPr>
        <p:spPr>
          <a:xfrm>
            <a:off x="7051832" y="3022502"/>
            <a:ext cx="838200" cy="838200"/>
          </a:xfrm>
          <a:prstGeom prst="ellipse">
            <a:avLst/>
          </a:prstGeom>
          <a:noFill/>
        </p:spPr>
        <p:txBody>
          <a:bodyPr anchor="t">
            <a:noAutofit/>
          </a:bodyPr>
          <a:lstStyle>
            <a:lvl1pPr marL="0" indent="0" algn="ctr">
              <a:buNone/>
              <a:defRPr sz="8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image</a:t>
            </a:r>
            <a:endParaRPr lang="en-IN" dirty="0"/>
          </a:p>
        </p:txBody>
      </p:sp>
      <p:sp>
        <p:nvSpPr>
          <p:cNvPr id="75" name="Pladsholder til tekst 62"/>
          <p:cNvSpPr>
            <a:spLocks noGrp="1"/>
          </p:cNvSpPr>
          <p:nvPr>
            <p:ph type="body" sz="quarter" idx="58" hasCustomPrompt="1"/>
          </p:nvPr>
        </p:nvSpPr>
        <p:spPr>
          <a:xfrm>
            <a:off x="7051832" y="3882116"/>
            <a:ext cx="1727200" cy="230657"/>
          </a:xfrm>
        </p:spPr>
        <p:txBody>
          <a:bodyPr/>
          <a:lstStyle>
            <a:lvl1pPr marL="0" indent="0" algn="l">
              <a:buNone/>
              <a:defRPr sz="10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Name</a:t>
            </a:r>
          </a:p>
        </p:txBody>
      </p:sp>
      <p:sp>
        <p:nvSpPr>
          <p:cNvPr id="76" name="Pladsholder til tekst 63"/>
          <p:cNvSpPr>
            <a:spLocks noGrp="1"/>
          </p:cNvSpPr>
          <p:nvPr>
            <p:ph type="body" sz="quarter" idx="59" hasCustomPrompt="1"/>
          </p:nvPr>
        </p:nvSpPr>
        <p:spPr>
          <a:xfrm>
            <a:off x="7051832" y="4133701"/>
            <a:ext cx="1727200" cy="218100"/>
          </a:xfrm>
        </p:spPr>
        <p:txBody>
          <a:bodyPr/>
          <a:lstStyle>
            <a:lvl1pPr marL="0" indent="0" algn="l">
              <a:buNone/>
              <a:defRPr sz="9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Designation</a:t>
            </a:r>
          </a:p>
        </p:txBody>
      </p:sp>
      <p:sp>
        <p:nvSpPr>
          <p:cNvPr id="44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77584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54" name="Rectangle 53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5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69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3" name="TextBox 72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77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51" name="Group 50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52" name="Oval 51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53" name="Oval 52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Oval 56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Oval 57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Oval 58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213849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Connector 20"/>
          <p:cNvCxnSpPr>
            <a:cxnSpLocks/>
          </p:cNvCxnSpPr>
          <p:nvPr userDrawn="1"/>
        </p:nvCxnSpPr>
        <p:spPr>
          <a:xfrm>
            <a:off x="3769835" y="1896228"/>
            <a:ext cx="0" cy="1349618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  <a:miter lim="400000"/>
          </a:ln>
        </p:spPr>
      </p:cxnSp>
      <p:sp>
        <p:nvSpPr>
          <p:cNvPr id="2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67200" y="2855768"/>
            <a:ext cx="3190875" cy="150332"/>
          </a:xfrm>
          <a:prstGeom prst="rect">
            <a:avLst/>
          </a:prstGeom>
          <a:noFill/>
        </p:spPr>
        <p:txBody>
          <a:bodyPr wrap="square" tIns="0" bIns="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1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Presenter’s first and last name </a:t>
            </a:r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267200" y="3084022"/>
            <a:ext cx="3190875" cy="149312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buNone/>
              <a:defRPr kumimoji="0" lang="en-US" sz="95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Designation</a:t>
            </a:r>
          </a:p>
        </p:txBody>
      </p:sp>
      <p:sp>
        <p:nvSpPr>
          <p:cNvPr id="30" name="Pladsholder til tekst 20"/>
          <p:cNvSpPr>
            <a:spLocks noGrp="1"/>
          </p:cNvSpPr>
          <p:nvPr>
            <p:ph type="body" sz="quarter" idx="36" hasCustomPrompt="1"/>
          </p:nvPr>
        </p:nvSpPr>
        <p:spPr>
          <a:xfrm>
            <a:off x="4582711" y="3424147"/>
            <a:ext cx="2782294" cy="146194"/>
          </a:xfrm>
        </p:spPr>
        <p:txBody>
          <a:bodyPr wrap="square" tIns="0" bIns="0">
            <a:spAutoFit/>
          </a:bodyPr>
          <a:lstStyle>
            <a:lvl1pPr marL="0" indent="0">
              <a:buFontTx/>
              <a:buNone/>
              <a:defRPr sz="95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LinkedIn</a:t>
            </a:r>
            <a:r>
              <a:rPr lang="en-GB" spc="11" dirty="0"/>
              <a:t> ID</a:t>
            </a:r>
            <a:endParaRPr lang="en-GB" dirty="0"/>
          </a:p>
        </p:txBody>
      </p:sp>
      <p:sp>
        <p:nvSpPr>
          <p:cNvPr id="31" name="Pladsholder til tekst 22"/>
          <p:cNvSpPr>
            <a:spLocks noGrp="1"/>
          </p:cNvSpPr>
          <p:nvPr>
            <p:ph type="body" sz="quarter" idx="38" hasCustomPrompt="1"/>
          </p:nvPr>
        </p:nvSpPr>
        <p:spPr>
          <a:xfrm>
            <a:off x="4582711" y="3705695"/>
            <a:ext cx="2782294" cy="146194"/>
          </a:xfrm>
        </p:spPr>
        <p:txBody>
          <a:bodyPr wrap="square" tIns="0" bIns="0">
            <a:spAutoFit/>
          </a:bodyPr>
          <a:lstStyle>
            <a:lvl1pPr marL="0" indent="0">
              <a:buFontTx/>
              <a:buNone/>
              <a:defRPr sz="95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witter ID</a:t>
            </a:r>
          </a:p>
        </p:txBody>
      </p:sp>
      <p:pic>
        <p:nvPicPr>
          <p:cNvPr id="32" name="Picture 2" descr="Image result for linkedin 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7200" y="3365682"/>
            <a:ext cx="263124" cy="263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4" descr="Image result for twitter logo 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3863" y="3611980"/>
            <a:ext cx="333624" cy="333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267199" y="1310123"/>
            <a:ext cx="5486400" cy="116586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algn="l">
              <a:defRPr lang="en-US" sz="3600" u="sng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Thank You						 </a:t>
            </a:r>
            <a:br>
              <a:rPr lang="en-US" dirty="0"/>
            </a:br>
            <a:r>
              <a:rPr lang="en-US" dirty="0"/>
              <a:t>for your time					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1437856"/>
            <a:ext cx="2732400" cy="229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643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513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_optional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Connector 20"/>
          <p:cNvCxnSpPr>
            <a:cxnSpLocks/>
          </p:cNvCxnSpPr>
          <p:nvPr userDrawn="1"/>
        </p:nvCxnSpPr>
        <p:spPr>
          <a:xfrm>
            <a:off x="3769835" y="1896228"/>
            <a:ext cx="0" cy="1349618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  <a:miter lim="400000"/>
          </a:ln>
        </p:spPr>
      </p:cxn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267199" y="2002166"/>
            <a:ext cx="5486400" cy="116586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algn="l">
              <a:defRPr lang="en-US" sz="3600" u="sng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Thank You						 </a:t>
            </a:r>
            <a:br>
              <a:rPr lang="en-US" dirty="0"/>
            </a:br>
            <a:r>
              <a:rPr lang="en-US" dirty="0"/>
              <a:t>for your time					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1437856"/>
            <a:ext cx="2732400" cy="229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128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5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Client/Partn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67200" y="1310123"/>
            <a:ext cx="5486400" cy="116586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algn="l">
              <a:defRPr lang="en-US" sz="3600" u="sng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Insert Title Here				 </a:t>
            </a:r>
            <a:br>
              <a:rPr lang="en-US" dirty="0"/>
            </a:br>
            <a:r>
              <a:rPr lang="en-US" dirty="0"/>
              <a:t>in two lines						</a:t>
            </a:r>
          </a:p>
        </p:txBody>
      </p:sp>
      <p:cxnSp>
        <p:nvCxnSpPr>
          <p:cNvPr id="9" name="Straight Connector 8"/>
          <p:cNvCxnSpPr>
            <a:cxnSpLocks/>
          </p:cNvCxnSpPr>
          <p:nvPr/>
        </p:nvCxnSpPr>
        <p:spPr>
          <a:xfrm>
            <a:off x="3769835" y="1896228"/>
            <a:ext cx="0" cy="1349618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  <a:miter lim="400000"/>
          </a:ln>
        </p:spPr>
      </p:cxn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67200" y="2855768"/>
            <a:ext cx="3190875" cy="150332"/>
          </a:xfrm>
          <a:prstGeom prst="rect">
            <a:avLst/>
          </a:prstGeom>
          <a:noFill/>
        </p:spPr>
        <p:txBody>
          <a:bodyPr wrap="square" tIns="0" bIns="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1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Presenter’s first and last name 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267200" y="3084022"/>
            <a:ext cx="3190875" cy="149312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buNone/>
              <a:defRPr kumimoji="0" lang="en-US" sz="95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Designation</a:t>
            </a:r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4267200" y="3348038"/>
            <a:ext cx="3190875" cy="139770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buNone/>
              <a:defRPr kumimoji="0" lang="en-US" sz="9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Dat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81" t="11774" r="9918" b="11902"/>
          <a:stretch/>
        </p:blipFill>
        <p:spPr>
          <a:xfrm>
            <a:off x="270754" y="1926880"/>
            <a:ext cx="1645233" cy="1316432"/>
          </a:xfrm>
          <a:prstGeom prst="rect">
            <a:avLst/>
          </a:prstGeom>
        </p:spPr>
      </p:pic>
      <p:sp>
        <p:nvSpPr>
          <p:cNvPr id="17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342673" y="1955800"/>
            <a:ext cx="1181100" cy="1231900"/>
          </a:xfrm>
        </p:spPr>
        <p:txBody>
          <a:bodyPr anchor="ctr"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Place Client / Partner Logo Here</a:t>
            </a:r>
          </a:p>
        </p:txBody>
      </p:sp>
    </p:spTree>
    <p:extLst>
      <p:ext uri="{BB962C8B-B14F-4D97-AF65-F5344CB8AC3E}">
        <p14:creationId xmlns:p14="http://schemas.microsoft.com/office/powerpoint/2010/main" val="657412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513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Client/Partn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>
            <a:cxnSpLocks/>
          </p:cNvCxnSpPr>
          <p:nvPr/>
        </p:nvCxnSpPr>
        <p:spPr>
          <a:xfrm>
            <a:off x="3769835" y="1896228"/>
            <a:ext cx="0" cy="1349618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  <a:miter lim="400000"/>
          </a:ln>
        </p:spPr>
      </p:cxn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267199" y="1310123"/>
            <a:ext cx="5486400" cy="116586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algn="l">
              <a:defRPr lang="en-US" sz="3600" u="sng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Thank You						 </a:t>
            </a:r>
            <a:br>
              <a:rPr lang="en-US" dirty="0"/>
            </a:br>
            <a:r>
              <a:rPr lang="en-US" dirty="0"/>
              <a:t>for your time					</a:t>
            </a:r>
          </a:p>
        </p:txBody>
      </p:sp>
      <p:sp>
        <p:nvSpPr>
          <p:cNvPr id="2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67200" y="2855768"/>
            <a:ext cx="3190875" cy="150332"/>
          </a:xfrm>
          <a:prstGeom prst="rect">
            <a:avLst/>
          </a:prstGeom>
          <a:noFill/>
        </p:spPr>
        <p:txBody>
          <a:bodyPr wrap="square" tIns="0" bIns="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15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Presenter’s first and last name </a:t>
            </a:r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267200" y="3084022"/>
            <a:ext cx="3190875" cy="149312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buNone/>
              <a:defRPr kumimoji="0" lang="en-US" sz="95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Designation</a:t>
            </a:r>
          </a:p>
        </p:txBody>
      </p:sp>
      <p:sp>
        <p:nvSpPr>
          <p:cNvPr id="29" name="Pladsholder til tekst 20"/>
          <p:cNvSpPr>
            <a:spLocks noGrp="1"/>
          </p:cNvSpPr>
          <p:nvPr>
            <p:ph type="body" sz="quarter" idx="36" hasCustomPrompt="1"/>
          </p:nvPr>
        </p:nvSpPr>
        <p:spPr>
          <a:xfrm>
            <a:off x="4582711" y="3424147"/>
            <a:ext cx="2782294" cy="146194"/>
          </a:xfrm>
        </p:spPr>
        <p:txBody>
          <a:bodyPr wrap="square" tIns="0" bIns="0">
            <a:spAutoFit/>
          </a:bodyPr>
          <a:lstStyle>
            <a:lvl1pPr marL="0" indent="0">
              <a:buFontTx/>
              <a:buNone/>
              <a:defRPr sz="95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LinkedIn</a:t>
            </a:r>
            <a:r>
              <a:rPr lang="en-GB" spc="11" dirty="0"/>
              <a:t> ID</a:t>
            </a:r>
            <a:endParaRPr lang="en-GB" dirty="0"/>
          </a:p>
        </p:txBody>
      </p:sp>
      <p:sp>
        <p:nvSpPr>
          <p:cNvPr id="30" name="Pladsholder til tekst 22"/>
          <p:cNvSpPr>
            <a:spLocks noGrp="1"/>
          </p:cNvSpPr>
          <p:nvPr>
            <p:ph type="body" sz="quarter" idx="38" hasCustomPrompt="1"/>
          </p:nvPr>
        </p:nvSpPr>
        <p:spPr>
          <a:xfrm>
            <a:off x="4582711" y="3705695"/>
            <a:ext cx="2782294" cy="146194"/>
          </a:xfrm>
        </p:spPr>
        <p:txBody>
          <a:bodyPr wrap="square" tIns="0" bIns="0">
            <a:spAutoFit/>
          </a:bodyPr>
          <a:lstStyle>
            <a:lvl1pPr marL="0" indent="0">
              <a:buFontTx/>
              <a:buNone/>
              <a:defRPr sz="95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witter ID</a:t>
            </a:r>
          </a:p>
        </p:txBody>
      </p:sp>
      <p:pic>
        <p:nvPicPr>
          <p:cNvPr id="31" name="Picture 2" descr="Image result for linkedin 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7200" y="3365682"/>
            <a:ext cx="263124" cy="263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4" descr="Image result for twitter logo 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3863" y="3611980"/>
            <a:ext cx="333624" cy="333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81" t="11774" r="9918" b="11902"/>
          <a:stretch/>
        </p:blipFill>
        <p:spPr>
          <a:xfrm>
            <a:off x="270754" y="1926880"/>
            <a:ext cx="1645233" cy="1316432"/>
          </a:xfrm>
          <a:prstGeom prst="rect">
            <a:avLst/>
          </a:prstGeom>
        </p:spPr>
      </p:pic>
      <p:sp>
        <p:nvSpPr>
          <p:cNvPr id="17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342673" y="1955800"/>
            <a:ext cx="1181100" cy="1231900"/>
          </a:xfrm>
        </p:spPr>
        <p:txBody>
          <a:bodyPr anchor="ctr"/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en-US" dirty="0"/>
              <a:t>Place Client / Partner Logo Here</a:t>
            </a:r>
          </a:p>
        </p:txBody>
      </p:sp>
    </p:spTree>
    <p:extLst>
      <p:ext uri="{BB962C8B-B14F-4D97-AF65-F5344CB8AC3E}">
        <p14:creationId xmlns:p14="http://schemas.microsoft.com/office/powerpoint/2010/main" val="3345766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7661" y="1719112"/>
            <a:ext cx="2193893" cy="175217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67200" y="1310123"/>
            <a:ext cx="4705351" cy="1165860"/>
          </a:xfrm>
        </p:spPr>
        <p:txBody>
          <a:bodyPr anchor="b"/>
          <a:lstStyle>
            <a:lvl1pPr>
              <a:buNone/>
              <a:defRPr sz="3600" b="1" u="sng" baseline="0">
                <a:solidFill>
                  <a:srgbClr val="0E357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3600"/>
            </a:lvl2pPr>
            <a:lvl3pPr>
              <a:defRPr sz="3600"/>
            </a:lvl3pPr>
            <a:lvl4pPr>
              <a:defRPr sz="3600"/>
            </a:lvl4pPr>
            <a:lvl5pPr>
              <a:defRPr sz="3600"/>
            </a:lvl5pPr>
          </a:lstStyle>
          <a:p>
            <a:pPr lvl="0"/>
            <a:r>
              <a:rPr lang="en-US" dirty="0"/>
              <a:t>Insert Title Here in Two Lines</a:t>
            </a:r>
          </a:p>
        </p:txBody>
      </p:sp>
      <p:cxnSp>
        <p:nvCxnSpPr>
          <p:cNvPr id="38" name="Straight Connector 37"/>
          <p:cNvCxnSpPr>
            <a:cxnSpLocks/>
          </p:cNvCxnSpPr>
          <p:nvPr userDrawn="1"/>
        </p:nvCxnSpPr>
        <p:spPr>
          <a:xfrm>
            <a:off x="3769835" y="1896229"/>
            <a:ext cx="0" cy="1349618"/>
          </a:xfrm>
          <a:prstGeom prst="line">
            <a:avLst/>
          </a:prstGeom>
          <a:ln w="19050">
            <a:solidFill>
              <a:srgbClr val="F2F2F2">
                <a:lumMod val="50000"/>
              </a:srgbClr>
            </a:solidFill>
            <a:miter lim="400000"/>
          </a:ln>
        </p:spPr>
      </p:cxn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7201" y="2855768"/>
            <a:ext cx="3190875" cy="152400"/>
          </a:xfrm>
        </p:spPr>
        <p:txBody>
          <a:bodyPr/>
          <a:lstStyle>
            <a:lvl1pPr>
              <a:defRPr sz="1200" b="1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Presenter’s first and last name</a:t>
            </a:r>
          </a:p>
        </p:txBody>
      </p:sp>
      <p:sp>
        <p:nvSpPr>
          <p:cNvPr id="20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67201" y="3084022"/>
            <a:ext cx="3190875" cy="152400"/>
          </a:xfrm>
        </p:spPr>
        <p:txBody>
          <a:bodyPr/>
          <a:lstStyle>
            <a:lvl1pPr>
              <a:defRPr sz="900" b="1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Designation</a:t>
            </a:r>
          </a:p>
        </p:txBody>
      </p:sp>
      <p:sp>
        <p:nvSpPr>
          <p:cNvPr id="20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1" y="3348038"/>
            <a:ext cx="3190875" cy="152400"/>
          </a:xfrm>
        </p:spPr>
        <p:txBody>
          <a:bodyPr/>
          <a:lstStyle>
            <a:lvl1pPr>
              <a:defRPr sz="900" b="1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43" name="Group 42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203" name="Straight Connector 2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4" name="Straight Connector 20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201" name="Straight Connector 2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" name="Straight Connector 2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99" name="Straight Connector 1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0" name="Straight Connector 1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97" name="Straight Connector 1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8" name="Straight Connector 1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95" name="Straight Connector 1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Straight Connector 1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93" name="Straight Connector 1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91" name="Straight Connector 19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Straight Connector 19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9" name="Straight Connector 18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Straight Connector 18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7" name="Straight Connector 18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5" name="Straight Connector 18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3" name="Straight Connector 18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1" name="Straight Connector 18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9" name="Straight Connector 17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oup 72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4" name="Group 73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5" name="Group 74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6" name="Group 75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8" name="Group 77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9" name="Group 78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0" name="Group 79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1" name="Group 80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2" name="Group 81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3" name="Group 82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05" name="MSIPCM6c534ff2ae1361b7a15919c9" descr="{&quot;HashCode&quot;:-1477458873,&quot;Placement&quot;:&quot;Footer&quot;,&quot;Top&quot;:389.104645,&quot;Left&quot;:300.843231,&quot;SlideWidth&quot;:720,&quot;SlideHeight&quot;:405}"/>
          <p:cNvSpPr txBox="1"/>
          <p:nvPr userDrawn="1"/>
        </p:nvSpPr>
        <p:spPr>
          <a:xfrm>
            <a:off x="3820709" y="4988703"/>
            <a:ext cx="1502583" cy="1077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 defTabSz="457189"/>
            <a:r>
              <a:rPr lang="en-US" sz="700" dirty="0">
                <a:solidFill>
                  <a:srgbClr val="000000"/>
                </a:solidFill>
                <a:sym typeface="+mn-lt"/>
              </a:rPr>
              <a:t>Sensitivity: Internal &amp; Restricted</a:t>
            </a:r>
          </a:p>
        </p:txBody>
      </p:sp>
    </p:spTree>
    <p:extLst>
      <p:ext uri="{BB962C8B-B14F-4D97-AF65-F5344CB8AC3E}">
        <p14:creationId xmlns:p14="http://schemas.microsoft.com/office/powerpoint/2010/main" val="1799349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81999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9" name="Group 8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11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1" name="MSIPCM6c534ff2ae1361b7a15919c9" descr="{&quot;HashCode&quot;:-1477458873,&quot;Placement&quot;:&quot;Footer&quot;,&quot;Top&quot;:389.104645,&quot;Left&quot;:300.843231,&quot;SlideWidth&quot;:720,&quot;SlideHeight&quot;:405}"/>
          <p:cNvSpPr txBox="1"/>
          <p:nvPr userDrawn="1"/>
        </p:nvSpPr>
        <p:spPr>
          <a:xfrm>
            <a:off x="3820709" y="4988703"/>
            <a:ext cx="1502583" cy="1077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 defTabSz="457189"/>
            <a:r>
              <a:rPr lang="en-US" sz="700" dirty="0">
                <a:solidFill>
                  <a:srgbClr val="000000"/>
                </a:solidFill>
                <a:sym typeface="+mn-lt"/>
              </a:rPr>
              <a:t>Sensitivity: Internal &amp; Restricted</a:t>
            </a:r>
          </a:p>
        </p:txBody>
      </p:sp>
      <p:cxnSp>
        <p:nvCxnSpPr>
          <p:cNvPr id="172" name="Lige forbindelse 8"/>
          <p:cNvCxnSpPr>
            <a:cxnSpLocks/>
          </p:cNvCxnSpPr>
          <p:nvPr userDrawn="1"/>
        </p:nvCxnSpPr>
        <p:spPr>
          <a:xfrm>
            <a:off x="7899752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Footer Placeholder 4"/>
          <p:cNvSpPr txBox="1">
            <a:spLocks/>
          </p:cNvSpPr>
          <p:nvPr userDrawn="1"/>
        </p:nvSpPr>
        <p:spPr>
          <a:xfrm>
            <a:off x="7899751" y="4975674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dirty="0">
                <a:solidFill>
                  <a:srgbClr val="646363"/>
                </a:solidFill>
                <a:latin typeface="Trebuchet MS"/>
                <a:sym typeface="+mn-lt"/>
              </a:rPr>
              <a:t>©</a:t>
            </a:r>
          </a:p>
        </p:txBody>
      </p:sp>
      <p:sp>
        <p:nvSpPr>
          <p:cNvPr id="174" name="Freeform 5"/>
          <p:cNvSpPr>
            <a:spLocks noEditPoints="1"/>
          </p:cNvSpPr>
          <p:nvPr userDrawn="1"/>
        </p:nvSpPr>
        <p:spPr bwMode="auto">
          <a:xfrm>
            <a:off x="8002023" y="4978055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 sz="1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5" name="TextBox 174"/>
          <p:cNvSpPr txBox="1"/>
          <p:nvPr userDrawn="1"/>
        </p:nvSpPr>
        <p:spPr>
          <a:xfrm>
            <a:off x="8264669" y="4933519"/>
            <a:ext cx="61358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/>
            <a:r>
              <a:rPr lang="en-US" sz="600" dirty="0">
                <a:solidFill>
                  <a:srgbClr val="646363"/>
                </a:solidFill>
                <a:sym typeface="+mn-lt"/>
              </a:rPr>
              <a:t>confidential</a:t>
            </a:r>
          </a:p>
        </p:txBody>
      </p:sp>
      <p:grpSp>
        <p:nvGrpSpPr>
          <p:cNvPr id="176" name="Group 175"/>
          <p:cNvGrpSpPr/>
          <p:nvPr userDrawn="1"/>
        </p:nvGrpSpPr>
        <p:grpSpPr>
          <a:xfrm>
            <a:off x="71949" y="4978615"/>
            <a:ext cx="503788" cy="94721"/>
            <a:chOff x="6014087" y="4646472"/>
            <a:chExt cx="503788" cy="94721"/>
          </a:xfrm>
        </p:grpSpPr>
        <p:sp>
          <p:nvSpPr>
            <p:cNvPr id="177" name="Oval 176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r>
                <a:rPr lang="en-US" sz="1800" dirty="0">
                  <a:solidFill>
                    <a:srgbClr val="000000"/>
                  </a:solidFill>
                  <a:sym typeface="+mn-lt"/>
                </a:rPr>
                <a:t> </a:t>
              </a:r>
            </a:p>
          </p:txBody>
        </p:sp>
        <p:sp>
          <p:nvSpPr>
            <p:cNvPr id="178" name="Oval 177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179" name="Oval 178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180" name="Oval 179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181" name="Oval 180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000000"/>
                </a:solidFill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4288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982"/>
            <a:ext cx="3520800" cy="51444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2500" y="1158205"/>
            <a:ext cx="2589300" cy="1121846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4468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endParaRPr lang="en-US" sz="40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3557" y="2001031"/>
            <a:ext cx="7215368" cy="2400770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963557" y="1071098"/>
            <a:ext cx="710754" cy="710754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1" name="Group 10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109713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2870100"/>
            <a:ext cx="8202600" cy="1530900"/>
          </a:xfrm>
        </p:spPr>
        <p:txBody>
          <a:bodyPr anchor="t">
            <a:noAutofit/>
          </a:bodyPr>
          <a:lstStyle>
            <a:lvl1pPr>
              <a:defRPr sz="405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64174" y="2760012"/>
            <a:ext cx="8682228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9" name="Group 8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11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817818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514350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3059631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3" name="Group 12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9" name="Straight Connector 17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940954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51435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5378967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4" name="Group 13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8" name="Straight Connector 17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6" name="Straight Connector 17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233659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060573" y="-982"/>
            <a:ext cx="6083428" cy="514448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8" name="Group 17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8" name="Straight Connector 17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6" name="Straight Connector 17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59879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51435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51435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500" y="1339200"/>
            <a:ext cx="3291300" cy="24651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60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9" name="Group 18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0" name="Straight Connector 17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8" name="Straight Connector 17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6" name="Straight Connector 17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618475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779308" y="1470758"/>
            <a:ext cx="3640292" cy="150646"/>
          </a:xfrm>
          <a:prstGeom prst="rect">
            <a:avLst/>
          </a:prstGeom>
        </p:spPr>
        <p:txBody>
          <a:bodyPr tIns="0" bIns="0" anchor="ctr" anchorCtr="0">
            <a:noAutofit/>
          </a:bodyPr>
          <a:lstStyle>
            <a:lvl1pPr marL="0" indent="0">
              <a:buNone/>
              <a:defRPr sz="13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8" name="Text Placeholder 38"/>
          <p:cNvSpPr>
            <a:spLocks noGrp="1"/>
          </p:cNvSpPr>
          <p:nvPr>
            <p:ph type="body" sz="quarter" idx="15" hasCustomPrompt="1"/>
          </p:nvPr>
        </p:nvSpPr>
        <p:spPr>
          <a:xfrm>
            <a:off x="230668" y="1373094"/>
            <a:ext cx="502920" cy="501594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Font typeface="Arial" pitchFamily="34" charset="0"/>
              <a:buNone/>
              <a:defRPr sz="1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47" name="Title 1"/>
          <p:cNvSpPr>
            <a:spLocks noGrp="1"/>
          </p:cNvSpPr>
          <p:nvPr>
            <p:ph type="ctrTitle" hasCustomPrompt="1"/>
          </p:nvPr>
        </p:nvSpPr>
        <p:spPr>
          <a:xfrm>
            <a:off x="263070" y="254000"/>
            <a:ext cx="2191657" cy="519669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/>
              <a:defRPr lang="en-US" sz="2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Agenda</a:t>
            </a:r>
          </a:p>
        </p:txBody>
      </p:sp>
      <p:sp>
        <p:nvSpPr>
          <p:cNvPr id="48" name="Text Placeholder 38"/>
          <p:cNvSpPr>
            <a:spLocks noGrp="1"/>
          </p:cNvSpPr>
          <p:nvPr>
            <p:ph type="body" sz="quarter" idx="16" hasCustomPrompt="1"/>
          </p:nvPr>
        </p:nvSpPr>
        <p:spPr>
          <a:xfrm>
            <a:off x="779308" y="1656945"/>
            <a:ext cx="3640292" cy="149245"/>
          </a:xfrm>
          <a:prstGeom prst="rect">
            <a:avLst/>
          </a:prstGeom>
        </p:spPr>
        <p:txBody>
          <a:bodyPr tIns="0" bIns="0" anchor="t" anchorCtr="0">
            <a:noAutofit/>
          </a:bodyPr>
          <a:lstStyle>
            <a:lvl1pPr marL="0" indent="0">
              <a:buNone/>
              <a:defRPr sz="9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Sub-points</a:t>
            </a:r>
          </a:p>
        </p:txBody>
      </p:sp>
      <p:sp>
        <p:nvSpPr>
          <p:cNvPr id="49" name="Text Placeholder 38"/>
          <p:cNvSpPr>
            <a:spLocks noGrp="1"/>
          </p:cNvSpPr>
          <p:nvPr>
            <p:ph type="body" sz="quarter" idx="17" hasCustomPrompt="1"/>
          </p:nvPr>
        </p:nvSpPr>
        <p:spPr>
          <a:xfrm>
            <a:off x="779308" y="2347470"/>
            <a:ext cx="3640292" cy="150646"/>
          </a:xfrm>
          <a:prstGeom prst="rect">
            <a:avLst/>
          </a:prstGeom>
        </p:spPr>
        <p:txBody>
          <a:bodyPr tIns="0" bIns="0" anchor="ctr" anchorCtr="0">
            <a:noAutofit/>
          </a:bodyPr>
          <a:lstStyle>
            <a:lvl1pPr marL="0" indent="0">
              <a:buNone/>
              <a:defRPr sz="13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0" name="Text Placeholder 38"/>
          <p:cNvSpPr>
            <a:spLocks noGrp="1"/>
          </p:cNvSpPr>
          <p:nvPr>
            <p:ph type="body" sz="quarter" idx="18" hasCustomPrompt="1"/>
          </p:nvPr>
        </p:nvSpPr>
        <p:spPr>
          <a:xfrm>
            <a:off x="230668" y="2249806"/>
            <a:ext cx="502920" cy="501594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Font typeface="Arial" pitchFamily="34" charset="0"/>
              <a:buNone/>
              <a:defRPr sz="1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51" name="Text Placeholder 38"/>
          <p:cNvSpPr>
            <a:spLocks noGrp="1"/>
          </p:cNvSpPr>
          <p:nvPr>
            <p:ph type="body" sz="quarter" idx="19" hasCustomPrompt="1"/>
          </p:nvPr>
        </p:nvSpPr>
        <p:spPr>
          <a:xfrm>
            <a:off x="779308" y="2533657"/>
            <a:ext cx="3640292" cy="149245"/>
          </a:xfrm>
          <a:prstGeom prst="rect">
            <a:avLst/>
          </a:prstGeom>
        </p:spPr>
        <p:txBody>
          <a:bodyPr tIns="0" bIns="0" anchor="t" anchorCtr="0">
            <a:noAutofit/>
          </a:bodyPr>
          <a:lstStyle>
            <a:lvl1pPr marL="0" indent="0">
              <a:buNone/>
              <a:defRPr sz="9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Sub-points</a:t>
            </a:r>
          </a:p>
        </p:txBody>
      </p:sp>
      <p:sp>
        <p:nvSpPr>
          <p:cNvPr id="52" name="Text Placeholder 38"/>
          <p:cNvSpPr>
            <a:spLocks noGrp="1"/>
          </p:cNvSpPr>
          <p:nvPr>
            <p:ph type="body" sz="quarter" idx="20" hasCustomPrompt="1"/>
          </p:nvPr>
        </p:nvSpPr>
        <p:spPr>
          <a:xfrm>
            <a:off x="779308" y="3222736"/>
            <a:ext cx="3640292" cy="150646"/>
          </a:xfrm>
          <a:prstGeom prst="rect">
            <a:avLst/>
          </a:prstGeom>
        </p:spPr>
        <p:txBody>
          <a:bodyPr tIns="0" bIns="0" anchor="ctr" anchorCtr="0">
            <a:noAutofit/>
          </a:bodyPr>
          <a:lstStyle>
            <a:lvl1pPr marL="0" indent="0">
              <a:buNone/>
              <a:defRPr sz="13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3" name="Text Placeholder 38"/>
          <p:cNvSpPr>
            <a:spLocks noGrp="1"/>
          </p:cNvSpPr>
          <p:nvPr>
            <p:ph type="body" sz="quarter" idx="21" hasCustomPrompt="1"/>
          </p:nvPr>
        </p:nvSpPr>
        <p:spPr>
          <a:xfrm>
            <a:off x="230668" y="3125072"/>
            <a:ext cx="502920" cy="501594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Font typeface="Arial" pitchFamily="34" charset="0"/>
              <a:buNone/>
              <a:defRPr sz="1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54" name="Text Placeholder 38"/>
          <p:cNvSpPr>
            <a:spLocks noGrp="1"/>
          </p:cNvSpPr>
          <p:nvPr>
            <p:ph type="body" sz="quarter" idx="22" hasCustomPrompt="1"/>
          </p:nvPr>
        </p:nvSpPr>
        <p:spPr>
          <a:xfrm>
            <a:off x="779308" y="3408923"/>
            <a:ext cx="3640292" cy="149245"/>
          </a:xfrm>
          <a:prstGeom prst="rect">
            <a:avLst/>
          </a:prstGeom>
        </p:spPr>
        <p:txBody>
          <a:bodyPr tIns="0" bIns="0" anchor="t" anchorCtr="0">
            <a:noAutofit/>
          </a:bodyPr>
          <a:lstStyle>
            <a:lvl1pPr marL="0" indent="0">
              <a:buNone/>
              <a:defRPr sz="9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Sub-points</a:t>
            </a:r>
          </a:p>
        </p:txBody>
      </p:sp>
      <p:sp>
        <p:nvSpPr>
          <p:cNvPr id="55" name="Text Placeholder 38"/>
          <p:cNvSpPr>
            <a:spLocks noGrp="1"/>
          </p:cNvSpPr>
          <p:nvPr>
            <p:ph type="body" sz="quarter" idx="23" hasCustomPrompt="1"/>
          </p:nvPr>
        </p:nvSpPr>
        <p:spPr>
          <a:xfrm>
            <a:off x="779308" y="4057114"/>
            <a:ext cx="3640292" cy="150646"/>
          </a:xfrm>
          <a:prstGeom prst="rect">
            <a:avLst/>
          </a:prstGeom>
        </p:spPr>
        <p:txBody>
          <a:bodyPr tIns="0" bIns="0" anchor="ctr" anchorCtr="0">
            <a:noAutofit/>
          </a:bodyPr>
          <a:lstStyle>
            <a:lvl1pPr marL="0" indent="0">
              <a:buNone/>
              <a:defRPr sz="13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6" name="Text Placeholder 38"/>
          <p:cNvSpPr>
            <a:spLocks noGrp="1"/>
          </p:cNvSpPr>
          <p:nvPr>
            <p:ph type="body" sz="quarter" idx="24" hasCustomPrompt="1"/>
          </p:nvPr>
        </p:nvSpPr>
        <p:spPr>
          <a:xfrm>
            <a:off x="230668" y="3959450"/>
            <a:ext cx="502920" cy="501594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Font typeface="Arial" pitchFamily="34" charset="0"/>
              <a:buNone/>
              <a:defRPr sz="1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57" name="Text Placeholder 38"/>
          <p:cNvSpPr>
            <a:spLocks noGrp="1"/>
          </p:cNvSpPr>
          <p:nvPr>
            <p:ph type="body" sz="quarter" idx="25" hasCustomPrompt="1"/>
          </p:nvPr>
        </p:nvSpPr>
        <p:spPr>
          <a:xfrm>
            <a:off x="779308" y="4243301"/>
            <a:ext cx="3640292" cy="149245"/>
          </a:xfrm>
          <a:prstGeom prst="rect">
            <a:avLst/>
          </a:prstGeom>
        </p:spPr>
        <p:txBody>
          <a:bodyPr tIns="0" bIns="0" anchor="t" anchorCtr="0">
            <a:noAutofit/>
          </a:bodyPr>
          <a:lstStyle>
            <a:lvl1pPr marL="0" indent="0">
              <a:buNone/>
              <a:defRPr sz="9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Sub-points</a:t>
            </a:r>
          </a:p>
        </p:txBody>
      </p:sp>
      <p:sp>
        <p:nvSpPr>
          <p:cNvPr id="58" name="Text Placeholder 38"/>
          <p:cNvSpPr>
            <a:spLocks noGrp="1"/>
          </p:cNvSpPr>
          <p:nvPr>
            <p:ph type="body" sz="quarter" idx="26" hasCustomPrompt="1"/>
          </p:nvPr>
        </p:nvSpPr>
        <p:spPr>
          <a:xfrm>
            <a:off x="5164271" y="1470758"/>
            <a:ext cx="3640292" cy="150646"/>
          </a:xfrm>
          <a:prstGeom prst="rect">
            <a:avLst/>
          </a:prstGeom>
        </p:spPr>
        <p:txBody>
          <a:bodyPr tIns="0" bIns="0" anchor="ctr" anchorCtr="0">
            <a:noAutofit/>
          </a:bodyPr>
          <a:lstStyle>
            <a:lvl1pPr marL="0" indent="0">
              <a:buNone/>
              <a:defRPr sz="13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9" name="Text Placeholder 38"/>
          <p:cNvSpPr>
            <a:spLocks noGrp="1"/>
          </p:cNvSpPr>
          <p:nvPr>
            <p:ph type="body" sz="quarter" idx="27" hasCustomPrompt="1"/>
          </p:nvPr>
        </p:nvSpPr>
        <p:spPr>
          <a:xfrm>
            <a:off x="4615631" y="1373094"/>
            <a:ext cx="502920" cy="501594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Font typeface="Arial" pitchFamily="34" charset="0"/>
              <a:buNone/>
              <a:defRPr sz="1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60" name="Text Placeholder 38"/>
          <p:cNvSpPr>
            <a:spLocks noGrp="1"/>
          </p:cNvSpPr>
          <p:nvPr>
            <p:ph type="body" sz="quarter" idx="28" hasCustomPrompt="1"/>
          </p:nvPr>
        </p:nvSpPr>
        <p:spPr>
          <a:xfrm>
            <a:off x="5164271" y="1656945"/>
            <a:ext cx="3640292" cy="149245"/>
          </a:xfrm>
          <a:prstGeom prst="rect">
            <a:avLst/>
          </a:prstGeom>
        </p:spPr>
        <p:txBody>
          <a:bodyPr tIns="0" bIns="0" anchor="t" anchorCtr="0">
            <a:noAutofit/>
          </a:bodyPr>
          <a:lstStyle>
            <a:lvl1pPr marL="0" indent="0">
              <a:buNone/>
              <a:defRPr sz="9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Sub-points</a:t>
            </a:r>
          </a:p>
        </p:txBody>
      </p:sp>
      <p:sp>
        <p:nvSpPr>
          <p:cNvPr id="61" name="Text Placeholder 38"/>
          <p:cNvSpPr>
            <a:spLocks noGrp="1"/>
          </p:cNvSpPr>
          <p:nvPr>
            <p:ph type="body" sz="quarter" idx="29" hasCustomPrompt="1"/>
          </p:nvPr>
        </p:nvSpPr>
        <p:spPr>
          <a:xfrm>
            <a:off x="5164271" y="2347470"/>
            <a:ext cx="3640292" cy="150646"/>
          </a:xfrm>
          <a:prstGeom prst="rect">
            <a:avLst/>
          </a:prstGeom>
        </p:spPr>
        <p:txBody>
          <a:bodyPr tIns="0" bIns="0" anchor="ctr" anchorCtr="0">
            <a:noAutofit/>
          </a:bodyPr>
          <a:lstStyle>
            <a:lvl1pPr marL="0" indent="0">
              <a:buNone/>
              <a:defRPr sz="13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2" name="Text Placeholder 38"/>
          <p:cNvSpPr>
            <a:spLocks noGrp="1"/>
          </p:cNvSpPr>
          <p:nvPr>
            <p:ph type="body" sz="quarter" idx="30" hasCustomPrompt="1"/>
          </p:nvPr>
        </p:nvSpPr>
        <p:spPr>
          <a:xfrm>
            <a:off x="4615631" y="2249806"/>
            <a:ext cx="502920" cy="501594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Font typeface="Arial" pitchFamily="34" charset="0"/>
              <a:buNone/>
              <a:defRPr sz="1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63" name="Text Placeholder 38"/>
          <p:cNvSpPr>
            <a:spLocks noGrp="1"/>
          </p:cNvSpPr>
          <p:nvPr>
            <p:ph type="body" sz="quarter" idx="31" hasCustomPrompt="1"/>
          </p:nvPr>
        </p:nvSpPr>
        <p:spPr>
          <a:xfrm>
            <a:off x="5164271" y="2533657"/>
            <a:ext cx="3640292" cy="149245"/>
          </a:xfrm>
          <a:prstGeom prst="rect">
            <a:avLst/>
          </a:prstGeom>
        </p:spPr>
        <p:txBody>
          <a:bodyPr tIns="0" bIns="0" anchor="t" anchorCtr="0">
            <a:noAutofit/>
          </a:bodyPr>
          <a:lstStyle>
            <a:lvl1pPr marL="0" indent="0">
              <a:buNone/>
              <a:defRPr sz="9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Sub-points</a:t>
            </a:r>
          </a:p>
        </p:txBody>
      </p:sp>
      <p:sp>
        <p:nvSpPr>
          <p:cNvPr id="64" name="Text Placeholder 38"/>
          <p:cNvSpPr>
            <a:spLocks noGrp="1"/>
          </p:cNvSpPr>
          <p:nvPr>
            <p:ph type="body" sz="quarter" idx="32" hasCustomPrompt="1"/>
          </p:nvPr>
        </p:nvSpPr>
        <p:spPr>
          <a:xfrm>
            <a:off x="5164271" y="3222736"/>
            <a:ext cx="3640292" cy="150646"/>
          </a:xfrm>
          <a:prstGeom prst="rect">
            <a:avLst/>
          </a:prstGeom>
        </p:spPr>
        <p:txBody>
          <a:bodyPr tIns="0" bIns="0" anchor="ctr" anchorCtr="0">
            <a:noAutofit/>
          </a:bodyPr>
          <a:lstStyle>
            <a:lvl1pPr marL="0" indent="0">
              <a:buNone/>
              <a:defRPr sz="13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5" name="Text Placeholder 38"/>
          <p:cNvSpPr>
            <a:spLocks noGrp="1"/>
          </p:cNvSpPr>
          <p:nvPr>
            <p:ph type="body" sz="quarter" idx="33" hasCustomPrompt="1"/>
          </p:nvPr>
        </p:nvSpPr>
        <p:spPr>
          <a:xfrm>
            <a:off x="4615631" y="3125072"/>
            <a:ext cx="502920" cy="501594"/>
          </a:xfrm>
          <a:prstGeom prst="ellipse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Font typeface="Arial" pitchFamily="34" charset="0"/>
              <a:buNone/>
              <a:defRPr sz="1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66" name="Text Placeholder 38"/>
          <p:cNvSpPr>
            <a:spLocks noGrp="1"/>
          </p:cNvSpPr>
          <p:nvPr>
            <p:ph type="body" sz="quarter" idx="34" hasCustomPrompt="1"/>
          </p:nvPr>
        </p:nvSpPr>
        <p:spPr>
          <a:xfrm>
            <a:off x="5164271" y="3408923"/>
            <a:ext cx="3640292" cy="149245"/>
          </a:xfrm>
          <a:prstGeom prst="rect">
            <a:avLst/>
          </a:prstGeom>
        </p:spPr>
        <p:txBody>
          <a:bodyPr tIns="0" bIns="0" anchor="t" anchorCtr="0">
            <a:noAutofit/>
          </a:bodyPr>
          <a:lstStyle>
            <a:lvl1pPr marL="0" indent="0">
              <a:buNone/>
              <a:defRPr sz="9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Sub-points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77584" y="59563"/>
            <a:ext cx="1001713" cy="123794"/>
          </a:xfrm>
        </p:spPr>
        <p:txBody>
          <a:bodyPr wrap="none" tIns="0" bIns="0" anchor="ctr" anchorCtr="0"/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800" b="0" kern="120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0.0 Section name</a:t>
            </a:r>
          </a:p>
        </p:txBody>
      </p:sp>
      <p:sp>
        <p:nvSpPr>
          <p:cNvPr id="68" name="Rectangle 67"/>
          <p:cNvSpPr/>
          <p:nvPr userDrawn="1"/>
        </p:nvSpPr>
        <p:spPr>
          <a:xfrm>
            <a:off x="8903495" y="4975062"/>
            <a:ext cx="228600" cy="142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9" name="Lige forbindelse 8"/>
          <p:cNvCxnSpPr>
            <a:cxnSpLocks/>
          </p:cNvCxnSpPr>
          <p:nvPr userDrawn="1"/>
        </p:nvCxnSpPr>
        <p:spPr>
          <a:xfrm>
            <a:off x="7899751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Footer Placeholder 4"/>
          <p:cNvSpPr txBox="1">
            <a:spLocks/>
          </p:cNvSpPr>
          <p:nvPr userDrawn="1"/>
        </p:nvSpPr>
        <p:spPr>
          <a:xfrm>
            <a:off x="7899751" y="4975673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u="none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</a:p>
        </p:txBody>
      </p:sp>
      <p:sp>
        <p:nvSpPr>
          <p:cNvPr id="77" name="Freeform 5"/>
          <p:cNvSpPr>
            <a:spLocks noEditPoints="1"/>
          </p:cNvSpPr>
          <p:nvPr userDrawn="1"/>
        </p:nvSpPr>
        <p:spPr bwMode="auto">
          <a:xfrm>
            <a:off x="8002022" y="4978054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8" name="TextBox 77"/>
          <p:cNvSpPr txBox="1"/>
          <p:nvPr userDrawn="1"/>
        </p:nvSpPr>
        <p:spPr>
          <a:xfrm>
            <a:off x="8264669" y="4933519"/>
            <a:ext cx="613587" cy="109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79" name="Shape 257"/>
          <p:cNvSpPr txBox="1">
            <a:spLocks/>
          </p:cNvSpPr>
          <p:nvPr userDrawn="1"/>
        </p:nvSpPr>
        <p:spPr>
          <a:xfrm>
            <a:off x="8869969" y="4930742"/>
            <a:ext cx="259712" cy="194925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0" tIns="45720" rIns="0" bIns="45720" rtlCol="0" anchor="ctr"/>
          <a:lstStyle>
            <a:defPPr>
              <a:defRPr lang="en-US"/>
            </a:defPPr>
            <a:lvl1pPr algn="ctr">
              <a:defRPr sz="600" b="0" u="none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0" marR="0" indent="228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lvl="0"/>
            <a:fld id="{86CB4B4D-7CA3-9044-876B-883B54F8677D}" type="slidenum">
              <a:rPr lang="en-GB" noProof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lvl="0"/>
              <a:t>‹#›</a:t>
            </a:fld>
            <a:endParaRPr lang="en-GB" noProof="0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71948" y="4978614"/>
            <a:ext cx="503788" cy="94721"/>
            <a:chOff x="6014087" y="4646472"/>
            <a:chExt cx="503788" cy="94721"/>
          </a:xfrm>
        </p:grpSpPr>
        <p:sp>
          <p:nvSpPr>
            <p:cNvPr id="38" name="Oval 37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dirty="0"/>
                <a:t> </a:t>
              </a:r>
            </a:p>
          </p:txBody>
        </p:sp>
        <p:sp>
          <p:nvSpPr>
            <p:cNvPr id="39" name="Oval 38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Oval 39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Oval 40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Oval 41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751990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4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51435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5864658" y="0"/>
            <a:ext cx="3279343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51435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353488"/>
            <a:ext cx="4685664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60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9" name="Group 18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9" name="Straight Connector 17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158060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143" y="983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9331" y="2692799"/>
            <a:ext cx="1023938" cy="253722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12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4" name="Group 13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10044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</p:spPr>
        <p:txBody>
          <a:bodyPr anchor="ctr" anchorCtr="0">
            <a:noAutofit/>
          </a:bodyPr>
          <a:lstStyle>
            <a:lvl1pPr>
              <a:defRPr sz="24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30981" y="2552121"/>
            <a:ext cx="2021000" cy="2596309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grpSp>
        <p:nvGrpSpPr>
          <p:cNvPr id="11" name="Group 10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2" name="Group 11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098442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6144" y="2545795"/>
            <a:ext cx="973931" cy="2678906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15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7" name="Group 16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720903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83544" y="2562225"/>
            <a:ext cx="2021000" cy="2581275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grpSp>
        <p:nvGrpSpPr>
          <p:cNvPr id="12" name="Group 11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5" name="Group 14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8" name="Straight Connector 17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6" name="Straight Connector 17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557824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3505235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354" y="2692204"/>
            <a:ext cx="1023938" cy="253722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oup 11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3" name="Group 12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568977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3505235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271483" y="2558909"/>
            <a:ext cx="2021000" cy="2592413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grpSp>
        <p:nvGrpSpPr>
          <p:cNvPr id="11" name="Group 10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5" name="Group 14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8" name="Straight Connector 17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6" name="Straight Connector 17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834806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4" y="2692204"/>
            <a:ext cx="1023938" cy="253722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Group 16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8" name="Group 17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8" name="Straight Connector 17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6" name="Straight Connector 17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441365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925721" y="2555853"/>
            <a:ext cx="2021000" cy="2592413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grpSp>
        <p:nvGrpSpPr>
          <p:cNvPr id="13" name="Group 12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4" name="Group 13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8" name="Straight Connector 17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6" name="Straight Connector 17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73927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endParaRPr lang="en-US" sz="40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2" name="Group 11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5502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eyfade-jon-flobrant-193464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656749" y="0"/>
            <a:ext cx="6502359" cy="4702629"/>
          </a:xfrm>
          <a:prstGeom prst="rect">
            <a:avLst/>
          </a:prstGeom>
        </p:spPr>
      </p:pic>
      <p:sp>
        <p:nvSpPr>
          <p:cNvPr id="21" name="object 5"/>
          <p:cNvSpPr/>
          <p:nvPr userDrawn="1"/>
        </p:nvSpPr>
        <p:spPr>
          <a:xfrm>
            <a:off x="8432007" y="2232419"/>
            <a:ext cx="462845" cy="462846"/>
          </a:xfrm>
          <a:custGeom>
            <a:avLst/>
            <a:gdLst/>
            <a:ahLst/>
            <a:cxnLst/>
            <a:rect l="l" t="t" r="r" b="b"/>
            <a:pathLst>
              <a:path w="1880363" h="1880368">
                <a:moveTo>
                  <a:pt x="940185" y="0"/>
                </a:moveTo>
                <a:lnTo>
                  <a:pt x="868058" y="2753"/>
                </a:lnTo>
                <a:lnTo>
                  <a:pt x="796273" y="11014"/>
                </a:lnTo>
                <a:lnTo>
                  <a:pt x="725172" y="24783"/>
                </a:lnTo>
                <a:lnTo>
                  <a:pt x="655098" y="44059"/>
                </a:lnTo>
                <a:lnTo>
                  <a:pt x="586392" y="68843"/>
                </a:lnTo>
                <a:lnTo>
                  <a:pt x="519398" y="99134"/>
                </a:lnTo>
                <a:lnTo>
                  <a:pt x="454457" y="134933"/>
                </a:lnTo>
                <a:lnTo>
                  <a:pt x="391911" y="176239"/>
                </a:lnTo>
                <a:lnTo>
                  <a:pt x="332102" y="223052"/>
                </a:lnTo>
                <a:lnTo>
                  <a:pt x="275373" y="275373"/>
                </a:lnTo>
                <a:lnTo>
                  <a:pt x="223052" y="332102"/>
                </a:lnTo>
                <a:lnTo>
                  <a:pt x="176239" y="391910"/>
                </a:lnTo>
                <a:lnTo>
                  <a:pt x="134933" y="454456"/>
                </a:lnTo>
                <a:lnTo>
                  <a:pt x="99134" y="519397"/>
                </a:lnTo>
                <a:lnTo>
                  <a:pt x="68843" y="586391"/>
                </a:lnTo>
                <a:lnTo>
                  <a:pt x="44059" y="655097"/>
                </a:lnTo>
                <a:lnTo>
                  <a:pt x="24783" y="725171"/>
                </a:lnTo>
                <a:lnTo>
                  <a:pt x="11014" y="796271"/>
                </a:lnTo>
                <a:lnTo>
                  <a:pt x="2753" y="868056"/>
                </a:lnTo>
                <a:lnTo>
                  <a:pt x="0" y="940184"/>
                </a:lnTo>
                <a:lnTo>
                  <a:pt x="2753" y="1012311"/>
                </a:lnTo>
                <a:lnTo>
                  <a:pt x="11014" y="1084096"/>
                </a:lnTo>
                <a:lnTo>
                  <a:pt x="24783" y="1155197"/>
                </a:lnTo>
                <a:lnTo>
                  <a:pt x="44059" y="1225271"/>
                </a:lnTo>
                <a:lnTo>
                  <a:pt x="68843" y="1293976"/>
                </a:lnTo>
                <a:lnTo>
                  <a:pt x="99134" y="1360970"/>
                </a:lnTo>
                <a:lnTo>
                  <a:pt x="134933" y="1425911"/>
                </a:lnTo>
                <a:lnTo>
                  <a:pt x="176239" y="1488457"/>
                </a:lnTo>
                <a:lnTo>
                  <a:pt x="223052" y="1548266"/>
                </a:lnTo>
                <a:lnTo>
                  <a:pt x="275373" y="1604994"/>
                </a:lnTo>
                <a:lnTo>
                  <a:pt x="332102" y="1657315"/>
                </a:lnTo>
                <a:lnTo>
                  <a:pt x="391911" y="1704129"/>
                </a:lnTo>
                <a:lnTo>
                  <a:pt x="454457" y="1745435"/>
                </a:lnTo>
                <a:lnTo>
                  <a:pt x="519398" y="1781233"/>
                </a:lnTo>
                <a:lnTo>
                  <a:pt x="586392" y="1811524"/>
                </a:lnTo>
                <a:lnTo>
                  <a:pt x="655098" y="1836308"/>
                </a:lnTo>
                <a:lnTo>
                  <a:pt x="725172" y="1855584"/>
                </a:lnTo>
                <a:lnTo>
                  <a:pt x="796273" y="1869353"/>
                </a:lnTo>
                <a:lnTo>
                  <a:pt x="868058" y="1877614"/>
                </a:lnTo>
                <a:lnTo>
                  <a:pt x="940185" y="1880368"/>
                </a:lnTo>
                <a:lnTo>
                  <a:pt x="1012312" y="1877614"/>
                </a:lnTo>
                <a:lnTo>
                  <a:pt x="1084097" y="1869353"/>
                </a:lnTo>
                <a:lnTo>
                  <a:pt x="1155197" y="1855584"/>
                </a:lnTo>
                <a:lnTo>
                  <a:pt x="1225271" y="1836308"/>
                </a:lnTo>
                <a:lnTo>
                  <a:pt x="1293976" y="1811524"/>
                </a:lnTo>
                <a:lnTo>
                  <a:pt x="1360970" y="1781233"/>
                </a:lnTo>
                <a:lnTo>
                  <a:pt x="1425911" y="1745435"/>
                </a:lnTo>
                <a:lnTo>
                  <a:pt x="1488456" y="1704129"/>
                </a:lnTo>
                <a:lnTo>
                  <a:pt x="1548264" y="1657315"/>
                </a:lnTo>
                <a:lnTo>
                  <a:pt x="1604992" y="1604994"/>
                </a:lnTo>
                <a:lnTo>
                  <a:pt x="1657313" y="1548266"/>
                </a:lnTo>
                <a:lnTo>
                  <a:pt x="1704126" y="1488457"/>
                </a:lnTo>
                <a:lnTo>
                  <a:pt x="1745432" y="1425911"/>
                </a:lnTo>
                <a:lnTo>
                  <a:pt x="1781230" y="1360970"/>
                </a:lnTo>
                <a:lnTo>
                  <a:pt x="1811521" y="1293976"/>
                </a:lnTo>
                <a:lnTo>
                  <a:pt x="1836304" y="1225271"/>
                </a:lnTo>
                <a:lnTo>
                  <a:pt x="1855580" y="1155197"/>
                </a:lnTo>
                <a:lnTo>
                  <a:pt x="1869349" y="1084096"/>
                </a:lnTo>
                <a:lnTo>
                  <a:pt x="1877610" y="1012311"/>
                </a:lnTo>
                <a:lnTo>
                  <a:pt x="1880363" y="940184"/>
                </a:lnTo>
                <a:lnTo>
                  <a:pt x="1877610" y="868056"/>
                </a:lnTo>
                <a:lnTo>
                  <a:pt x="1869349" y="796271"/>
                </a:lnTo>
                <a:lnTo>
                  <a:pt x="1855580" y="725171"/>
                </a:lnTo>
                <a:lnTo>
                  <a:pt x="1836304" y="655097"/>
                </a:lnTo>
                <a:lnTo>
                  <a:pt x="1811521" y="586391"/>
                </a:lnTo>
                <a:lnTo>
                  <a:pt x="1781230" y="519397"/>
                </a:lnTo>
                <a:lnTo>
                  <a:pt x="1745432" y="454456"/>
                </a:lnTo>
                <a:lnTo>
                  <a:pt x="1704126" y="391910"/>
                </a:lnTo>
                <a:lnTo>
                  <a:pt x="1657313" y="332102"/>
                </a:lnTo>
                <a:lnTo>
                  <a:pt x="1604992" y="275373"/>
                </a:lnTo>
                <a:lnTo>
                  <a:pt x="1548264" y="223052"/>
                </a:lnTo>
                <a:lnTo>
                  <a:pt x="1488456" y="176239"/>
                </a:lnTo>
                <a:lnTo>
                  <a:pt x="1425911" y="134933"/>
                </a:lnTo>
                <a:lnTo>
                  <a:pt x="1360970" y="99134"/>
                </a:lnTo>
                <a:lnTo>
                  <a:pt x="1293976" y="68843"/>
                </a:lnTo>
                <a:lnTo>
                  <a:pt x="1225271" y="44059"/>
                </a:lnTo>
                <a:lnTo>
                  <a:pt x="1155197" y="24783"/>
                </a:lnTo>
                <a:lnTo>
                  <a:pt x="1084097" y="11014"/>
                </a:lnTo>
                <a:lnTo>
                  <a:pt x="1012312" y="2753"/>
                </a:lnTo>
                <a:lnTo>
                  <a:pt x="940185" y="0"/>
                </a:lnTo>
                <a:close/>
              </a:path>
            </a:pathLst>
          </a:custGeom>
          <a:solidFill>
            <a:schemeClr val="accent6">
              <a:alpha val="56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object 5"/>
          <p:cNvSpPr/>
          <p:nvPr userDrawn="1"/>
        </p:nvSpPr>
        <p:spPr>
          <a:xfrm>
            <a:off x="7724016" y="3569542"/>
            <a:ext cx="391505" cy="391506"/>
          </a:xfrm>
          <a:custGeom>
            <a:avLst/>
            <a:gdLst/>
            <a:ahLst/>
            <a:cxnLst/>
            <a:rect l="l" t="t" r="r" b="b"/>
            <a:pathLst>
              <a:path w="1880363" h="1880368">
                <a:moveTo>
                  <a:pt x="940185" y="0"/>
                </a:moveTo>
                <a:lnTo>
                  <a:pt x="868058" y="2753"/>
                </a:lnTo>
                <a:lnTo>
                  <a:pt x="796273" y="11014"/>
                </a:lnTo>
                <a:lnTo>
                  <a:pt x="725172" y="24783"/>
                </a:lnTo>
                <a:lnTo>
                  <a:pt x="655098" y="44059"/>
                </a:lnTo>
                <a:lnTo>
                  <a:pt x="586392" y="68843"/>
                </a:lnTo>
                <a:lnTo>
                  <a:pt x="519398" y="99134"/>
                </a:lnTo>
                <a:lnTo>
                  <a:pt x="454457" y="134933"/>
                </a:lnTo>
                <a:lnTo>
                  <a:pt x="391911" y="176239"/>
                </a:lnTo>
                <a:lnTo>
                  <a:pt x="332102" y="223052"/>
                </a:lnTo>
                <a:lnTo>
                  <a:pt x="275373" y="275373"/>
                </a:lnTo>
                <a:lnTo>
                  <a:pt x="223052" y="332102"/>
                </a:lnTo>
                <a:lnTo>
                  <a:pt x="176239" y="391910"/>
                </a:lnTo>
                <a:lnTo>
                  <a:pt x="134933" y="454456"/>
                </a:lnTo>
                <a:lnTo>
                  <a:pt x="99134" y="519397"/>
                </a:lnTo>
                <a:lnTo>
                  <a:pt x="68843" y="586391"/>
                </a:lnTo>
                <a:lnTo>
                  <a:pt x="44059" y="655097"/>
                </a:lnTo>
                <a:lnTo>
                  <a:pt x="24783" y="725171"/>
                </a:lnTo>
                <a:lnTo>
                  <a:pt x="11014" y="796271"/>
                </a:lnTo>
                <a:lnTo>
                  <a:pt x="2753" y="868056"/>
                </a:lnTo>
                <a:lnTo>
                  <a:pt x="0" y="940184"/>
                </a:lnTo>
                <a:lnTo>
                  <a:pt x="2753" y="1012311"/>
                </a:lnTo>
                <a:lnTo>
                  <a:pt x="11014" y="1084096"/>
                </a:lnTo>
                <a:lnTo>
                  <a:pt x="24783" y="1155197"/>
                </a:lnTo>
                <a:lnTo>
                  <a:pt x="44059" y="1225271"/>
                </a:lnTo>
                <a:lnTo>
                  <a:pt x="68843" y="1293976"/>
                </a:lnTo>
                <a:lnTo>
                  <a:pt x="99134" y="1360970"/>
                </a:lnTo>
                <a:lnTo>
                  <a:pt x="134933" y="1425911"/>
                </a:lnTo>
                <a:lnTo>
                  <a:pt x="176239" y="1488457"/>
                </a:lnTo>
                <a:lnTo>
                  <a:pt x="223052" y="1548266"/>
                </a:lnTo>
                <a:lnTo>
                  <a:pt x="275373" y="1604994"/>
                </a:lnTo>
                <a:lnTo>
                  <a:pt x="332102" y="1657315"/>
                </a:lnTo>
                <a:lnTo>
                  <a:pt x="391911" y="1704129"/>
                </a:lnTo>
                <a:lnTo>
                  <a:pt x="454457" y="1745435"/>
                </a:lnTo>
                <a:lnTo>
                  <a:pt x="519398" y="1781233"/>
                </a:lnTo>
                <a:lnTo>
                  <a:pt x="586392" y="1811524"/>
                </a:lnTo>
                <a:lnTo>
                  <a:pt x="655098" y="1836308"/>
                </a:lnTo>
                <a:lnTo>
                  <a:pt x="725172" y="1855584"/>
                </a:lnTo>
                <a:lnTo>
                  <a:pt x="796273" y="1869353"/>
                </a:lnTo>
                <a:lnTo>
                  <a:pt x="868058" y="1877614"/>
                </a:lnTo>
                <a:lnTo>
                  <a:pt x="940185" y="1880368"/>
                </a:lnTo>
                <a:lnTo>
                  <a:pt x="1012312" y="1877614"/>
                </a:lnTo>
                <a:lnTo>
                  <a:pt x="1084097" y="1869353"/>
                </a:lnTo>
                <a:lnTo>
                  <a:pt x="1155197" y="1855584"/>
                </a:lnTo>
                <a:lnTo>
                  <a:pt x="1225271" y="1836308"/>
                </a:lnTo>
                <a:lnTo>
                  <a:pt x="1293976" y="1811524"/>
                </a:lnTo>
                <a:lnTo>
                  <a:pt x="1360970" y="1781233"/>
                </a:lnTo>
                <a:lnTo>
                  <a:pt x="1425911" y="1745435"/>
                </a:lnTo>
                <a:lnTo>
                  <a:pt x="1488456" y="1704129"/>
                </a:lnTo>
                <a:lnTo>
                  <a:pt x="1548264" y="1657315"/>
                </a:lnTo>
                <a:lnTo>
                  <a:pt x="1604992" y="1604994"/>
                </a:lnTo>
                <a:lnTo>
                  <a:pt x="1657313" y="1548266"/>
                </a:lnTo>
                <a:lnTo>
                  <a:pt x="1704126" y="1488457"/>
                </a:lnTo>
                <a:lnTo>
                  <a:pt x="1745432" y="1425911"/>
                </a:lnTo>
                <a:lnTo>
                  <a:pt x="1781230" y="1360970"/>
                </a:lnTo>
                <a:lnTo>
                  <a:pt x="1811521" y="1293976"/>
                </a:lnTo>
                <a:lnTo>
                  <a:pt x="1836304" y="1225271"/>
                </a:lnTo>
                <a:lnTo>
                  <a:pt x="1855580" y="1155197"/>
                </a:lnTo>
                <a:lnTo>
                  <a:pt x="1869349" y="1084096"/>
                </a:lnTo>
                <a:lnTo>
                  <a:pt x="1877610" y="1012311"/>
                </a:lnTo>
                <a:lnTo>
                  <a:pt x="1880363" y="940184"/>
                </a:lnTo>
                <a:lnTo>
                  <a:pt x="1877610" y="868056"/>
                </a:lnTo>
                <a:lnTo>
                  <a:pt x="1869349" y="796271"/>
                </a:lnTo>
                <a:lnTo>
                  <a:pt x="1855580" y="725171"/>
                </a:lnTo>
                <a:lnTo>
                  <a:pt x="1836304" y="655097"/>
                </a:lnTo>
                <a:lnTo>
                  <a:pt x="1811521" y="586391"/>
                </a:lnTo>
                <a:lnTo>
                  <a:pt x="1781230" y="519397"/>
                </a:lnTo>
                <a:lnTo>
                  <a:pt x="1745432" y="454456"/>
                </a:lnTo>
                <a:lnTo>
                  <a:pt x="1704126" y="391910"/>
                </a:lnTo>
                <a:lnTo>
                  <a:pt x="1657313" y="332102"/>
                </a:lnTo>
                <a:lnTo>
                  <a:pt x="1604992" y="275373"/>
                </a:lnTo>
                <a:lnTo>
                  <a:pt x="1548264" y="223052"/>
                </a:lnTo>
                <a:lnTo>
                  <a:pt x="1488456" y="176239"/>
                </a:lnTo>
                <a:lnTo>
                  <a:pt x="1425911" y="134933"/>
                </a:lnTo>
                <a:lnTo>
                  <a:pt x="1360970" y="99134"/>
                </a:lnTo>
                <a:lnTo>
                  <a:pt x="1293976" y="68843"/>
                </a:lnTo>
                <a:lnTo>
                  <a:pt x="1225271" y="44059"/>
                </a:lnTo>
                <a:lnTo>
                  <a:pt x="1155197" y="24783"/>
                </a:lnTo>
                <a:lnTo>
                  <a:pt x="1084097" y="11014"/>
                </a:lnTo>
                <a:lnTo>
                  <a:pt x="1012312" y="2753"/>
                </a:lnTo>
                <a:lnTo>
                  <a:pt x="940185" y="0"/>
                </a:lnTo>
                <a:close/>
              </a:path>
            </a:pathLst>
          </a:custGeom>
          <a:solidFill>
            <a:schemeClr val="accent4">
              <a:alpha val="56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object 5"/>
          <p:cNvSpPr/>
          <p:nvPr userDrawn="1"/>
        </p:nvSpPr>
        <p:spPr>
          <a:xfrm>
            <a:off x="6081105" y="1637694"/>
            <a:ext cx="357794" cy="357794"/>
          </a:xfrm>
          <a:custGeom>
            <a:avLst/>
            <a:gdLst/>
            <a:ahLst/>
            <a:cxnLst/>
            <a:rect l="l" t="t" r="r" b="b"/>
            <a:pathLst>
              <a:path w="1880363" h="1880368">
                <a:moveTo>
                  <a:pt x="940185" y="0"/>
                </a:moveTo>
                <a:lnTo>
                  <a:pt x="868058" y="2753"/>
                </a:lnTo>
                <a:lnTo>
                  <a:pt x="796273" y="11014"/>
                </a:lnTo>
                <a:lnTo>
                  <a:pt x="725172" y="24783"/>
                </a:lnTo>
                <a:lnTo>
                  <a:pt x="655098" y="44059"/>
                </a:lnTo>
                <a:lnTo>
                  <a:pt x="586392" y="68843"/>
                </a:lnTo>
                <a:lnTo>
                  <a:pt x="519398" y="99134"/>
                </a:lnTo>
                <a:lnTo>
                  <a:pt x="454457" y="134933"/>
                </a:lnTo>
                <a:lnTo>
                  <a:pt x="391911" y="176239"/>
                </a:lnTo>
                <a:lnTo>
                  <a:pt x="332102" y="223052"/>
                </a:lnTo>
                <a:lnTo>
                  <a:pt x="275373" y="275373"/>
                </a:lnTo>
                <a:lnTo>
                  <a:pt x="223052" y="332102"/>
                </a:lnTo>
                <a:lnTo>
                  <a:pt x="176239" y="391910"/>
                </a:lnTo>
                <a:lnTo>
                  <a:pt x="134933" y="454456"/>
                </a:lnTo>
                <a:lnTo>
                  <a:pt x="99134" y="519397"/>
                </a:lnTo>
                <a:lnTo>
                  <a:pt x="68843" y="586391"/>
                </a:lnTo>
                <a:lnTo>
                  <a:pt x="44059" y="655097"/>
                </a:lnTo>
                <a:lnTo>
                  <a:pt x="24783" y="725171"/>
                </a:lnTo>
                <a:lnTo>
                  <a:pt x="11014" y="796271"/>
                </a:lnTo>
                <a:lnTo>
                  <a:pt x="2753" y="868056"/>
                </a:lnTo>
                <a:lnTo>
                  <a:pt x="0" y="940184"/>
                </a:lnTo>
                <a:lnTo>
                  <a:pt x="2753" y="1012311"/>
                </a:lnTo>
                <a:lnTo>
                  <a:pt x="11014" y="1084096"/>
                </a:lnTo>
                <a:lnTo>
                  <a:pt x="24783" y="1155197"/>
                </a:lnTo>
                <a:lnTo>
                  <a:pt x="44059" y="1225271"/>
                </a:lnTo>
                <a:lnTo>
                  <a:pt x="68843" y="1293976"/>
                </a:lnTo>
                <a:lnTo>
                  <a:pt x="99134" y="1360970"/>
                </a:lnTo>
                <a:lnTo>
                  <a:pt x="134933" y="1425911"/>
                </a:lnTo>
                <a:lnTo>
                  <a:pt x="176239" y="1488457"/>
                </a:lnTo>
                <a:lnTo>
                  <a:pt x="223052" y="1548266"/>
                </a:lnTo>
                <a:lnTo>
                  <a:pt x="275373" y="1604994"/>
                </a:lnTo>
                <a:lnTo>
                  <a:pt x="332102" y="1657315"/>
                </a:lnTo>
                <a:lnTo>
                  <a:pt x="391911" y="1704129"/>
                </a:lnTo>
                <a:lnTo>
                  <a:pt x="454457" y="1745435"/>
                </a:lnTo>
                <a:lnTo>
                  <a:pt x="519398" y="1781233"/>
                </a:lnTo>
                <a:lnTo>
                  <a:pt x="586392" y="1811524"/>
                </a:lnTo>
                <a:lnTo>
                  <a:pt x="655098" y="1836308"/>
                </a:lnTo>
                <a:lnTo>
                  <a:pt x="725172" y="1855584"/>
                </a:lnTo>
                <a:lnTo>
                  <a:pt x="796273" y="1869353"/>
                </a:lnTo>
                <a:lnTo>
                  <a:pt x="868058" y="1877614"/>
                </a:lnTo>
                <a:lnTo>
                  <a:pt x="940185" y="1880368"/>
                </a:lnTo>
                <a:lnTo>
                  <a:pt x="1012312" y="1877614"/>
                </a:lnTo>
                <a:lnTo>
                  <a:pt x="1084097" y="1869353"/>
                </a:lnTo>
                <a:lnTo>
                  <a:pt x="1155197" y="1855584"/>
                </a:lnTo>
                <a:lnTo>
                  <a:pt x="1225271" y="1836308"/>
                </a:lnTo>
                <a:lnTo>
                  <a:pt x="1293976" y="1811524"/>
                </a:lnTo>
                <a:lnTo>
                  <a:pt x="1360970" y="1781233"/>
                </a:lnTo>
                <a:lnTo>
                  <a:pt x="1425911" y="1745435"/>
                </a:lnTo>
                <a:lnTo>
                  <a:pt x="1488456" y="1704129"/>
                </a:lnTo>
                <a:lnTo>
                  <a:pt x="1548264" y="1657315"/>
                </a:lnTo>
                <a:lnTo>
                  <a:pt x="1604992" y="1604994"/>
                </a:lnTo>
                <a:lnTo>
                  <a:pt x="1657313" y="1548266"/>
                </a:lnTo>
                <a:lnTo>
                  <a:pt x="1704126" y="1488457"/>
                </a:lnTo>
                <a:lnTo>
                  <a:pt x="1745432" y="1425911"/>
                </a:lnTo>
                <a:lnTo>
                  <a:pt x="1781230" y="1360970"/>
                </a:lnTo>
                <a:lnTo>
                  <a:pt x="1811521" y="1293976"/>
                </a:lnTo>
                <a:lnTo>
                  <a:pt x="1836304" y="1225271"/>
                </a:lnTo>
                <a:lnTo>
                  <a:pt x="1855580" y="1155197"/>
                </a:lnTo>
                <a:lnTo>
                  <a:pt x="1869349" y="1084096"/>
                </a:lnTo>
                <a:lnTo>
                  <a:pt x="1877610" y="1012311"/>
                </a:lnTo>
                <a:lnTo>
                  <a:pt x="1880363" y="940184"/>
                </a:lnTo>
                <a:lnTo>
                  <a:pt x="1877610" y="868056"/>
                </a:lnTo>
                <a:lnTo>
                  <a:pt x="1869349" y="796271"/>
                </a:lnTo>
                <a:lnTo>
                  <a:pt x="1855580" y="725171"/>
                </a:lnTo>
                <a:lnTo>
                  <a:pt x="1836304" y="655097"/>
                </a:lnTo>
                <a:lnTo>
                  <a:pt x="1811521" y="586391"/>
                </a:lnTo>
                <a:lnTo>
                  <a:pt x="1781230" y="519397"/>
                </a:lnTo>
                <a:lnTo>
                  <a:pt x="1745432" y="454456"/>
                </a:lnTo>
                <a:lnTo>
                  <a:pt x="1704126" y="391910"/>
                </a:lnTo>
                <a:lnTo>
                  <a:pt x="1657313" y="332102"/>
                </a:lnTo>
                <a:lnTo>
                  <a:pt x="1604992" y="275373"/>
                </a:lnTo>
                <a:lnTo>
                  <a:pt x="1548264" y="223052"/>
                </a:lnTo>
                <a:lnTo>
                  <a:pt x="1488456" y="176239"/>
                </a:lnTo>
                <a:lnTo>
                  <a:pt x="1425911" y="134933"/>
                </a:lnTo>
                <a:lnTo>
                  <a:pt x="1360970" y="99134"/>
                </a:lnTo>
                <a:lnTo>
                  <a:pt x="1293976" y="68843"/>
                </a:lnTo>
                <a:lnTo>
                  <a:pt x="1225271" y="44059"/>
                </a:lnTo>
                <a:lnTo>
                  <a:pt x="1155197" y="24783"/>
                </a:lnTo>
                <a:lnTo>
                  <a:pt x="1084097" y="11014"/>
                </a:lnTo>
                <a:lnTo>
                  <a:pt x="1012312" y="2753"/>
                </a:lnTo>
                <a:lnTo>
                  <a:pt x="940185" y="0"/>
                </a:lnTo>
                <a:close/>
              </a:path>
            </a:pathLst>
          </a:custGeom>
          <a:solidFill>
            <a:schemeClr val="accent5">
              <a:alpha val="56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object 5"/>
          <p:cNvSpPr/>
          <p:nvPr userDrawn="1"/>
        </p:nvSpPr>
        <p:spPr>
          <a:xfrm>
            <a:off x="5442627" y="3131136"/>
            <a:ext cx="347870" cy="347870"/>
          </a:xfrm>
          <a:custGeom>
            <a:avLst/>
            <a:gdLst/>
            <a:ahLst/>
            <a:cxnLst/>
            <a:rect l="l" t="t" r="r" b="b"/>
            <a:pathLst>
              <a:path w="1880363" h="1880368">
                <a:moveTo>
                  <a:pt x="940185" y="0"/>
                </a:moveTo>
                <a:lnTo>
                  <a:pt x="868058" y="2753"/>
                </a:lnTo>
                <a:lnTo>
                  <a:pt x="796273" y="11014"/>
                </a:lnTo>
                <a:lnTo>
                  <a:pt x="725172" y="24783"/>
                </a:lnTo>
                <a:lnTo>
                  <a:pt x="655098" y="44059"/>
                </a:lnTo>
                <a:lnTo>
                  <a:pt x="586392" y="68843"/>
                </a:lnTo>
                <a:lnTo>
                  <a:pt x="519398" y="99134"/>
                </a:lnTo>
                <a:lnTo>
                  <a:pt x="454457" y="134933"/>
                </a:lnTo>
                <a:lnTo>
                  <a:pt x="391911" y="176239"/>
                </a:lnTo>
                <a:lnTo>
                  <a:pt x="332102" y="223052"/>
                </a:lnTo>
                <a:lnTo>
                  <a:pt x="275373" y="275373"/>
                </a:lnTo>
                <a:lnTo>
                  <a:pt x="223052" y="332102"/>
                </a:lnTo>
                <a:lnTo>
                  <a:pt x="176239" y="391910"/>
                </a:lnTo>
                <a:lnTo>
                  <a:pt x="134933" y="454456"/>
                </a:lnTo>
                <a:lnTo>
                  <a:pt x="99134" y="519397"/>
                </a:lnTo>
                <a:lnTo>
                  <a:pt x="68843" y="586391"/>
                </a:lnTo>
                <a:lnTo>
                  <a:pt x="44059" y="655097"/>
                </a:lnTo>
                <a:lnTo>
                  <a:pt x="24783" y="725171"/>
                </a:lnTo>
                <a:lnTo>
                  <a:pt x="11014" y="796271"/>
                </a:lnTo>
                <a:lnTo>
                  <a:pt x="2753" y="868056"/>
                </a:lnTo>
                <a:lnTo>
                  <a:pt x="0" y="940184"/>
                </a:lnTo>
                <a:lnTo>
                  <a:pt x="2753" y="1012311"/>
                </a:lnTo>
                <a:lnTo>
                  <a:pt x="11014" y="1084096"/>
                </a:lnTo>
                <a:lnTo>
                  <a:pt x="24783" y="1155197"/>
                </a:lnTo>
                <a:lnTo>
                  <a:pt x="44059" y="1225271"/>
                </a:lnTo>
                <a:lnTo>
                  <a:pt x="68843" y="1293976"/>
                </a:lnTo>
                <a:lnTo>
                  <a:pt x="99134" y="1360970"/>
                </a:lnTo>
                <a:lnTo>
                  <a:pt x="134933" y="1425911"/>
                </a:lnTo>
                <a:lnTo>
                  <a:pt x="176239" y="1488457"/>
                </a:lnTo>
                <a:lnTo>
                  <a:pt x="223052" y="1548266"/>
                </a:lnTo>
                <a:lnTo>
                  <a:pt x="275373" y="1604994"/>
                </a:lnTo>
                <a:lnTo>
                  <a:pt x="332102" y="1657315"/>
                </a:lnTo>
                <a:lnTo>
                  <a:pt x="391911" y="1704129"/>
                </a:lnTo>
                <a:lnTo>
                  <a:pt x="454457" y="1745435"/>
                </a:lnTo>
                <a:lnTo>
                  <a:pt x="519398" y="1781233"/>
                </a:lnTo>
                <a:lnTo>
                  <a:pt x="586392" y="1811524"/>
                </a:lnTo>
                <a:lnTo>
                  <a:pt x="655098" y="1836308"/>
                </a:lnTo>
                <a:lnTo>
                  <a:pt x="725172" y="1855584"/>
                </a:lnTo>
                <a:lnTo>
                  <a:pt x="796273" y="1869353"/>
                </a:lnTo>
                <a:lnTo>
                  <a:pt x="868058" y="1877614"/>
                </a:lnTo>
                <a:lnTo>
                  <a:pt x="940185" y="1880368"/>
                </a:lnTo>
                <a:lnTo>
                  <a:pt x="1012312" y="1877614"/>
                </a:lnTo>
                <a:lnTo>
                  <a:pt x="1084097" y="1869353"/>
                </a:lnTo>
                <a:lnTo>
                  <a:pt x="1155197" y="1855584"/>
                </a:lnTo>
                <a:lnTo>
                  <a:pt x="1225271" y="1836308"/>
                </a:lnTo>
                <a:lnTo>
                  <a:pt x="1293976" y="1811524"/>
                </a:lnTo>
                <a:lnTo>
                  <a:pt x="1360970" y="1781233"/>
                </a:lnTo>
                <a:lnTo>
                  <a:pt x="1425911" y="1745435"/>
                </a:lnTo>
                <a:lnTo>
                  <a:pt x="1488456" y="1704129"/>
                </a:lnTo>
                <a:lnTo>
                  <a:pt x="1548264" y="1657315"/>
                </a:lnTo>
                <a:lnTo>
                  <a:pt x="1604992" y="1604994"/>
                </a:lnTo>
                <a:lnTo>
                  <a:pt x="1657313" y="1548266"/>
                </a:lnTo>
                <a:lnTo>
                  <a:pt x="1704126" y="1488457"/>
                </a:lnTo>
                <a:lnTo>
                  <a:pt x="1745432" y="1425911"/>
                </a:lnTo>
                <a:lnTo>
                  <a:pt x="1781230" y="1360970"/>
                </a:lnTo>
                <a:lnTo>
                  <a:pt x="1811521" y="1293976"/>
                </a:lnTo>
                <a:lnTo>
                  <a:pt x="1836304" y="1225271"/>
                </a:lnTo>
                <a:lnTo>
                  <a:pt x="1855580" y="1155197"/>
                </a:lnTo>
                <a:lnTo>
                  <a:pt x="1869349" y="1084096"/>
                </a:lnTo>
                <a:lnTo>
                  <a:pt x="1877610" y="1012311"/>
                </a:lnTo>
                <a:lnTo>
                  <a:pt x="1880363" y="940184"/>
                </a:lnTo>
                <a:lnTo>
                  <a:pt x="1877610" y="868056"/>
                </a:lnTo>
                <a:lnTo>
                  <a:pt x="1869349" y="796271"/>
                </a:lnTo>
                <a:lnTo>
                  <a:pt x="1855580" y="725171"/>
                </a:lnTo>
                <a:lnTo>
                  <a:pt x="1836304" y="655097"/>
                </a:lnTo>
                <a:lnTo>
                  <a:pt x="1811521" y="586391"/>
                </a:lnTo>
                <a:lnTo>
                  <a:pt x="1781230" y="519397"/>
                </a:lnTo>
                <a:lnTo>
                  <a:pt x="1745432" y="454456"/>
                </a:lnTo>
                <a:lnTo>
                  <a:pt x="1704126" y="391910"/>
                </a:lnTo>
                <a:lnTo>
                  <a:pt x="1657313" y="332102"/>
                </a:lnTo>
                <a:lnTo>
                  <a:pt x="1604992" y="275373"/>
                </a:lnTo>
                <a:lnTo>
                  <a:pt x="1548264" y="223052"/>
                </a:lnTo>
                <a:lnTo>
                  <a:pt x="1488456" y="176239"/>
                </a:lnTo>
                <a:lnTo>
                  <a:pt x="1425911" y="134933"/>
                </a:lnTo>
                <a:lnTo>
                  <a:pt x="1360970" y="99134"/>
                </a:lnTo>
                <a:lnTo>
                  <a:pt x="1293976" y="68843"/>
                </a:lnTo>
                <a:lnTo>
                  <a:pt x="1225271" y="44059"/>
                </a:lnTo>
                <a:lnTo>
                  <a:pt x="1155197" y="24783"/>
                </a:lnTo>
                <a:lnTo>
                  <a:pt x="1084097" y="11014"/>
                </a:lnTo>
                <a:lnTo>
                  <a:pt x="1012312" y="2753"/>
                </a:lnTo>
                <a:lnTo>
                  <a:pt x="940185" y="0"/>
                </a:lnTo>
                <a:close/>
              </a:path>
            </a:pathLst>
          </a:custGeom>
          <a:solidFill>
            <a:schemeClr val="accent3">
              <a:alpha val="56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object 5"/>
          <p:cNvSpPr/>
          <p:nvPr userDrawn="1"/>
        </p:nvSpPr>
        <p:spPr>
          <a:xfrm>
            <a:off x="6381750" y="2509319"/>
            <a:ext cx="240507" cy="240507"/>
          </a:xfrm>
          <a:custGeom>
            <a:avLst/>
            <a:gdLst/>
            <a:ahLst/>
            <a:cxnLst/>
            <a:rect l="l" t="t" r="r" b="b"/>
            <a:pathLst>
              <a:path w="1880363" h="1880368">
                <a:moveTo>
                  <a:pt x="940185" y="0"/>
                </a:moveTo>
                <a:lnTo>
                  <a:pt x="868058" y="2753"/>
                </a:lnTo>
                <a:lnTo>
                  <a:pt x="796273" y="11014"/>
                </a:lnTo>
                <a:lnTo>
                  <a:pt x="725172" y="24783"/>
                </a:lnTo>
                <a:lnTo>
                  <a:pt x="655098" y="44059"/>
                </a:lnTo>
                <a:lnTo>
                  <a:pt x="586392" y="68843"/>
                </a:lnTo>
                <a:lnTo>
                  <a:pt x="519398" y="99134"/>
                </a:lnTo>
                <a:lnTo>
                  <a:pt x="454457" y="134933"/>
                </a:lnTo>
                <a:lnTo>
                  <a:pt x="391911" y="176239"/>
                </a:lnTo>
                <a:lnTo>
                  <a:pt x="332102" y="223052"/>
                </a:lnTo>
                <a:lnTo>
                  <a:pt x="275373" y="275373"/>
                </a:lnTo>
                <a:lnTo>
                  <a:pt x="223052" y="332102"/>
                </a:lnTo>
                <a:lnTo>
                  <a:pt x="176239" y="391910"/>
                </a:lnTo>
                <a:lnTo>
                  <a:pt x="134933" y="454456"/>
                </a:lnTo>
                <a:lnTo>
                  <a:pt x="99134" y="519397"/>
                </a:lnTo>
                <a:lnTo>
                  <a:pt x="68843" y="586391"/>
                </a:lnTo>
                <a:lnTo>
                  <a:pt x="44059" y="655097"/>
                </a:lnTo>
                <a:lnTo>
                  <a:pt x="24783" y="725171"/>
                </a:lnTo>
                <a:lnTo>
                  <a:pt x="11014" y="796271"/>
                </a:lnTo>
                <a:lnTo>
                  <a:pt x="2753" y="868056"/>
                </a:lnTo>
                <a:lnTo>
                  <a:pt x="0" y="940184"/>
                </a:lnTo>
                <a:lnTo>
                  <a:pt x="2753" y="1012311"/>
                </a:lnTo>
                <a:lnTo>
                  <a:pt x="11014" y="1084096"/>
                </a:lnTo>
                <a:lnTo>
                  <a:pt x="24783" y="1155197"/>
                </a:lnTo>
                <a:lnTo>
                  <a:pt x="44059" y="1225271"/>
                </a:lnTo>
                <a:lnTo>
                  <a:pt x="68843" y="1293976"/>
                </a:lnTo>
                <a:lnTo>
                  <a:pt x="99134" y="1360970"/>
                </a:lnTo>
                <a:lnTo>
                  <a:pt x="134933" y="1425911"/>
                </a:lnTo>
                <a:lnTo>
                  <a:pt x="176239" y="1488457"/>
                </a:lnTo>
                <a:lnTo>
                  <a:pt x="223052" y="1548266"/>
                </a:lnTo>
                <a:lnTo>
                  <a:pt x="275373" y="1604994"/>
                </a:lnTo>
                <a:lnTo>
                  <a:pt x="332102" y="1657315"/>
                </a:lnTo>
                <a:lnTo>
                  <a:pt x="391911" y="1704129"/>
                </a:lnTo>
                <a:lnTo>
                  <a:pt x="454457" y="1745435"/>
                </a:lnTo>
                <a:lnTo>
                  <a:pt x="519398" y="1781233"/>
                </a:lnTo>
                <a:lnTo>
                  <a:pt x="586392" y="1811524"/>
                </a:lnTo>
                <a:lnTo>
                  <a:pt x="655098" y="1836308"/>
                </a:lnTo>
                <a:lnTo>
                  <a:pt x="725172" y="1855584"/>
                </a:lnTo>
                <a:lnTo>
                  <a:pt x="796273" y="1869353"/>
                </a:lnTo>
                <a:lnTo>
                  <a:pt x="868058" y="1877614"/>
                </a:lnTo>
                <a:lnTo>
                  <a:pt x="940185" y="1880368"/>
                </a:lnTo>
                <a:lnTo>
                  <a:pt x="1012312" y="1877614"/>
                </a:lnTo>
                <a:lnTo>
                  <a:pt x="1084097" y="1869353"/>
                </a:lnTo>
                <a:lnTo>
                  <a:pt x="1155197" y="1855584"/>
                </a:lnTo>
                <a:lnTo>
                  <a:pt x="1225271" y="1836308"/>
                </a:lnTo>
                <a:lnTo>
                  <a:pt x="1293976" y="1811524"/>
                </a:lnTo>
                <a:lnTo>
                  <a:pt x="1360970" y="1781233"/>
                </a:lnTo>
                <a:lnTo>
                  <a:pt x="1425911" y="1745435"/>
                </a:lnTo>
                <a:lnTo>
                  <a:pt x="1488456" y="1704129"/>
                </a:lnTo>
                <a:lnTo>
                  <a:pt x="1548264" y="1657315"/>
                </a:lnTo>
                <a:lnTo>
                  <a:pt x="1604992" y="1604994"/>
                </a:lnTo>
                <a:lnTo>
                  <a:pt x="1657313" y="1548266"/>
                </a:lnTo>
                <a:lnTo>
                  <a:pt x="1704126" y="1488457"/>
                </a:lnTo>
                <a:lnTo>
                  <a:pt x="1745432" y="1425911"/>
                </a:lnTo>
                <a:lnTo>
                  <a:pt x="1781230" y="1360970"/>
                </a:lnTo>
                <a:lnTo>
                  <a:pt x="1811521" y="1293976"/>
                </a:lnTo>
                <a:lnTo>
                  <a:pt x="1836304" y="1225271"/>
                </a:lnTo>
                <a:lnTo>
                  <a:pt x="1855580" y="1155197"/>
                </a:lnTo>
                <a:lnTo>
                  <a:pt x="1869349" y="1084096"/>
                </a:lnTo>
                <a:lnTo>
                  <a:pt x="1877610" y="1012311"/>
                </a:lnTo>
                <a:lnTo>
                  <a:pt x="1880363" y="940184"/>
                </a:lnTo>
                <a:lnTo>
                  <a:pt x="1877610" y="868056"/>
                </a:lnTo>
                <a:lnTo>
                  <a:pt x="1869349" y="796271"/>
                </a:lnTo>
                <a:lnTo>
                  <a:pt x="1855580" y="725171"/>
                </a:lnTo>
                <a:lnTo>
                  <a:pt x="1836304" y="655097"/>
                </a:lnTo>
                <a:lnTo>
                  <a:pt x="1811521" y="586391"/>
                </a:lnTo>
                <a:lnTo>
                  <a:pt x="1781230" y="519397"/>
                </a:lnTo>
                <a:lnTo>
                  <a:pt x="1745432" y="454456"/>
                </a:lnTo>
                <a:lnTo>
                  <a:pt x="1704126" y="391910"/>
                </a:lnTo>
                <a:lnTo>
                  <a:pt x="1657313" y="332102"/>
                </a:lnTo>
                <a:lnTo>
                  <a:pt x="1604992" y="275373"/>
                </a:lnTo>
                <a:lnTo>
                  <a:pt x="1548264" y="223052"/>
                </a:lnTo>
                <a:lnTo>
                  <a:pt x="1488456" y="176239"/>
                </a:lnTo>
                <a:lnTo>
                  <a:pt x="1425911" y="134933"/>
                </a:lnTo>
                <a:lnTo>
                  <a:pt x="1360970" y="99134"/>
                </a:lnTo>
                <a:lnTo>
                  <a:pt x="1293976" y="68843"/>
                </a:lnTo>
                <a:lnTo>
                  <a:pt x="1225271" y="44059"/>
                </a:lnTo>
                <a:lnTo>
                  <a:pt x="1155197" y="24783"/>
                </a:lnTo>
                <a:lnTo>
                  <a:pt x="1084097" y="11014"/>
                </a:lnTo>
                <a:lnTo>
                  <a:pt x="1012312" y="2753"/>
                </a:lnTo>
                <a:lnTo>
                  <a:pt x="940185" y="0"/>
                </a:lnTo>
                <a:close/>
              </a:path>
            </a:pathLst>
          </a:custGeom>
          <a:solidFill>
            <a:schemeClr val="tx2">
              <a:alpha val="56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254000" y="1765241"/>
            <a:ext cx="5534025" cy="2817517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3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Section name </a:t>
            </a:r>
            <a:br>
              <a:rPr lang="en-US" dirty="0"/>
            </a:br>
            <a:r>
              <a:rPr lang="en-US" dirty="0"/>
              <a:t>here in</a:t>
            </a:r>
            <a:br>
              <a:rPr lang="en-US" dirty="0"/>
            </a:br>
            <a:r>
              <a:rPr lang="en-US" dirty="0"/>
              <a:t>three lines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81" t="11774" r="9918" b="11902"/>
          <a:stretch/>
        </p:blipFill>
        <p:spPr>
          <a:xfrm>
            <a:off x="222446" y="428217"/>
            <a:ext cx="1052514" cy="84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107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endParaRPr lang="en-US" sz="40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2500" y="469106"/>
            <a:ext cx="699516" cy="69951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3004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98096" y="76083"/>
            <a:ext cx="576943" cy="7514866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4400501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 dirty="0">
              <a:solidFill>
                <a:srgbClr val="000000"/>
              </a:solidFill>
              <a:sym typeface="+mn-lt"/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0" name="Group 9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11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782977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8199900" cy="353174"/>
          </a:xfrm>
        </p:spPr>
        <p:txBody>
          <a:bodyPr/>
          <a:lstStyle>
            <a:lvl1pPr>
              <a:defRPr sz="255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0" name="Group 9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11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960249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96046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1" name="Group 10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11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029863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79480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3769835" y="1896229"/>
            <a:ext cx="0" cy="1349618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  <a:miter lim="400000"/>
          </a:ln>
        </p:spPr>
      </p:cxn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67200" y="1310123"/>
            <a:ext cx="4705351" cy="1165860"/>
          </a:xfrm>
        </p:spPr>
        <p:txBody>
          <a:bodyPr/>
          <a:lstStyle>
            <a:lvl1pPr>
              <a:defRPr sz="3600" b="1" u="sng" baseline="0">
                <a:solidFill>
                  <a:srgbClr val="0E357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3600"/>
            </a:lvl2pPr>
            <a:lvl3pPr>
              <a:defRPr sz="3600"/>
            </a:lvl3pPr>
            <a:lvl4pPr>
              <a:defRPr sz="3600"/>
            </a:lvl4pPr>
            <a:lvl5pPr>
              <a:defRPr sz="3600"/>
            </a:lvl5pPr>
          </a:lstStyle>
          <a:p>
            <a:pPr lvl="0"/>
            <a:r>
              <a:rPr lang="en-US" dirty="0"/>
              <a:t>Thank You</a:t>
            </a:r>
            <a:br>
              <a:rPr lang="en-US" dirty="0"/>
            </a:br>
            <a:r>
              <a:rPr lang="en-US" dirty="0"/>
              <a:t>for Your tim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7201" y="2855768"/>
            <a:ext cx="3190875" cy="152400"/>
          </a:xfrm>
        </p:spPr>
        <p:txBody>
          <a:bodyPr/>
          <a:lstStyle>
            <a:lvl1pPr>
              <a:defRPr sz="1200" b="1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Presenter’s first and last name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67201" y="3084022"/>
            <a:ext cx="3190875" cy="152400"/>
          </a:xfrm>
        </p:spPr>
        <p:txBody>
          <a:bodyPr/>
          <a:lstStyle>
            <a:lvl1pPr>
              <a:defRPr sz="900" b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Designation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714875" y="3348038"/>
            <a:ext cx="2743201" cy="152400"/>
          </a:xfrm>
        </p:spPr>
        <p:txBody>
          <a:bodyPr/>
          <a:lstStyle>
            <a:lvl1pPr>
              <a:defRPr sz="900" b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LinkedIn ID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14875" y="3594224"/>
            <a:ext cx="2743201" cy="152400"/>
          </a:xfrm>
        </p:spPr>
        <p:txBody>
          <a:bodyPr/>
          <a:lstStyle>
            <a:lvl1pPr>
              <a:defRPr sz="900" b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Twitter ID</a:t>
            </a:r>
          </a:p>
        </p:txBody>
      </p:sp>
      <p:pic>
        <p:nvPicPr>
          <p:cNvPr id="23" name="Picture 2" descr="Image result for linkedin logo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4365" y="3318988"/>
            <a:ext cx="210500" cy="21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 descr="Image result for twitter logo 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028" y="3536974"/>
            <a:ext cx="266900" cy="26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469" y="1709011"/>
            <a:ext cx="2193893" cy="1752170"/>
          </a:xfrm>
          <a:prstGeom prst="rect">
            <a:avLst/>
          </a:prstGeom>
        </p:spPr>
      </p:pic>
      <p:grpSp>
        <p:nvGrpSpPr>
          <p:cNvPr id="26" name="Group 25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27" name="Group 26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7" name="Straight Connector 18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5" name="Straight Connector 18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3" name="Straight Connector 18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1" name="Straight Connector 18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9" name="Straight Connector 17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184352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450" y="-1"/>
            <a:ext cx="9145350" cy="51435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000000"/>
                </a:solidFill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350" dirty="0">
                <a:solidFill>
                  <a:srgbClr val="575757"/>
                </a:solidFill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000000"/>
                </a:solidFill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rgbClr val="FFFFFF"/>
                </a:solidFill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1"/>
              <a:ext cx="9030915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750" dirty="0">
                  <a:solidFill>
                    <a:srgbClr val="FFFFFF">
                      <a:lumMod val="50000"/>
                    </a:srgbClr>
                  </a:solidFill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750" dirty="0">
                  <a:solidFill>
                    <a:srgbClr val="FFFFFF">
                      <a:lumMod val="50000"/>
                    </a:srgbClr>
                  </a:solidFill>
                  <a:sym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750" dirty="0">
                  <a:solidFill>
                    <a:srgbClr val="FFFFFF">
                      <a:lumMod val="50000"/>
                    </a:srgbClr>
                  </a:solidFill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76651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Straight Connector 16"/>
          <p:cNvCxnSpPr>
            <a:cxnSpLocks/>
          </p:cNvCxnSpPr>
          <p:nvPr userDrawn="1"/>
        </p:nvCxnSpPr>
        <p:spPr>
          <a:xfrm>
            <a:off x="3769835" y="1896229"/>
            <a:ext cx="0" cy="1349618"/>
          </a:xfrm>
          <a:prstGeom prst="line">
            <a:avLst/>
          </a:prstGeom>
          <a:ln w="19050">
            <a:solidFill>
              <a:srgbClr val="F2F2F2">
                <a:lumMod val="50000"/>
              </a:srgbClr>
            </a:solidFill>
            <a:miter lim="400000"/>
          </a:ln>
        </p:spPr>
      </p:cxnSp>
      <p:grpSp>
        <p:nvGrpSpPr>
          <p:cNvPr id="30" name="Group 29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31" name="Group 30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91" name="Straight Connector 19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Straight Connector 19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9" name="Straight Connector 18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Straight Connector 18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7" name="Straight Connector 18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5" name="Straight Connector 18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3" name="Straight Connector 18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1" name="Straight Connector 18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9" name="Straight Connector 17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MSIPCM6c534ff2ae1361b7a15919c9" descr="{&quot;HashCode&quot;:-1477458873,&quot;Placement&quot;:&quot;Footer&quot;,&quot;Top&quot;:389.104645,&quot;Left&quot;:300.843231,&quot;SlideWidth&quot;:720,&quot;SlideHeight&quot;:405}"/>
          <p:cNvSpPr txBox="1"/>
          <p:nvPr userDrawn="1"/>
        </p:nvSpPr>
        <p:spPr>
          <a:xfrm>
            <a:off x="3820709" y="4988703"/>
            <a:ext cx="1502583" cy="1077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 defTabSz="457189"/>
            <a:r>
              <a:rPr lang="en-US" sz="700" dirty="0">
                <a:solidFill>
                  <a:srgbClr val="000000"/>
                </a:solidFill>
                <a:sym typeface="+mn-lt"/>
              </a:rPr>
              <a:t>Sensitivity: Internal &amp; Restricted</a:t>
            </a:r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67200" y="1310123"/>
            <a:ext cx="4705351" cy="1165860"/>
          </a:xfrm>
        </p:spPr>
        <p:txBody>
          <a:bodyPr anchor="b"/>
          <a:lstStyle>
            <a:lvl1pPr>
              <a:defRPr sz="3600" b="1" u="sng" baseline="0">
                <a:solidFill>
                  <a:srgbClr val="0E357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3600"/>
            </a:lvl2pPr>
            <a:lvl3pPr>
              <a:defRPr sz="3600"/>
            </a:lvl3pPr>
            <a:lvl4pPr>
              <a:defRPr sz="3600"/>
            </a:lvl4pPr>
            <a:lvl5pPr>
              <a:defRPr sz="3600"/>
            </a:lvl5pPr>
          </a:lstStyle>
          <a:p>
            <a:pPr lvl="0"/>
            <a:r>
              <a:rPr lang="en-US" dirty="0"/>
              <a:t>Insert Title Here in Two Lines</a:t>
            </a:r>
          </a:p>
        </p:txBody>
      </p:sp>
      <p:sp>
        <p:nvSpPr>
          <p:cNvPr id="19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7201" y="2855768"/>
            <a:ext cx="3190875" cy="152400"/>
          </a:xfrm>
        </p:spPr>
        <p:txBody>
          <a:bodyPr/>
          <a:lstStyle>
            <a:lvl1pPr>
              <a:defRPr sz="1200" b="1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Presenter’s first and last name</a:t>
            </a:r>
          </a:p>
        </p:txBody>
      </p:sp>
      <p:sp>
        <p:nvSpPr>
          <p:cNvPr id="19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67201" y="3084022"/>
            <a:ext cx="3190875" cy="152400"/>
          </a:xfrm>
        </p:spPr>
        <p:txBody>
          <a:bodyPr/>
          <a:lstStyle>
            <a:lvl1pPr>
              <a:defRPr sz="900" b="1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Designation</a:t>
            </a:r>
          </a:p>
        </p:txBody>
      </p:sp>
      <p:sp>
        <p:nvSpPr>
          <p:cNvPr id="19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1" y="3348038"/>
            <a:ext cx="3190875" cy="152400"/>
          </a:xfrm>
        </p:spPr>
        <p:txBody>
          <a:bodyPr/>
          <a:lstStyle>
            <a:lvl1pPr>
              <a:defRPr sz="900" b="1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98" name="Picture 19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469" y="1709011"/>
            <a:ext cx="2193893" cy="1752170"/>
          </a:xfrm>
          <a:prstGeom prst="rect">
            <a:avLst/>
          </a:prstGeom>
        </p:spPr>
      </p:pic>
      <p:pic>
        <p:nvPicPr>
          <p:cNvPr id="200" name="TitleAndEndImage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>
            <a:off x="0" y="0"/>
            <a:ext cx="9144000" cy="3957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381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8200013" cy="2492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9" name="Group 8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11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3" name="MSIPCM6c534ff2ae1361b7a15919c9" descr="{&quot;HashCode&quot;:-1477458873,&quot;Placement&quot;:&quot;Footer&quot;,&quot;Top&quot;:389.104645,&quot;Left&quot;:300.843231,&quot;SlideWidth&quot;:720,&quot;SlideHeight&quot;:405}"/>
          <p:cNvSpPr txBox="1"/>
          <p:nvPr userDrawn="1"/>
        </p:nvSpPr>
        <p:spPr>
          <a:xfrm>
            <a:off x="3820709" y="4988703"/>
            <a:ext cx="1502583" cy="1077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 defTabSz="457189"/>
            <a:r>
              <a:rPr lang="en-US" sz="700" dirty="0">
                <a:solidFill>
                  <a:srgbClr val="000000"/>
                </a:solidFill>
                <a:sym typeface="+mn-lt"/>
              </a:rPr>
              <a:t>Sensitivity: Internal &amp; Restricted</a:t>
            </a:r>
          </a:p>
        </p:txBody>
      </p:sp>
      <p:cxnSp>
        <p:nvCxnSpPr>
          <p:cNvPr id="174" name="Lige forbindelse 8"/>
          <p:cNvCxnSpPr>
            <a:cxnSpLocks/>
          </p:cNvCxnSpPr>
          <p:nvPr userDrawn="1"/>
        </p:nvCxnSpPr>
        <p:spPr>
          <a:xfrm>
            <a:off x="7899752" y="4924622"/>
            <a:ext cx="124664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Footer Placeholder 4"/>
          <p:cNvSpPr txBox="1">
            <a:spLocks/>
          </p:cNvSpPr>
          <p:nvPr userDrawn="1"/>
        </p:nvSpPr>
        <p:spPr>
          <a:xfrm>
            <a:off x="7899751" y="4975674"/>
            <a:ext cx="83124" cy="111722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dirty="0">
                <a:solidFill>
                  <a:srgbClr val="646363"/>
                </a:solidFill>
                <a:latin typeface="Trebuchet MS"/>
                <a:sym typeface="+mn-lt"/>
              </a:rPr>
              <a:t>©</a:t>
            </a:r>
          </a:p>
        </p:txBody>
      </p:sp>
      <p:sp>
        <p:nvSpPr>
          <p:cNvPr id="176" name="Freeform 5"/>
          <p:cNvSpPr>
            <a:spLocks noEditPoints="1"/>
          </p:cNvSpPr>
          <p:nvPr userDrawn="1"/>
        </p:nvSpPr>
        <p:spPr bwMode="auto">
          <a:xfrm>
            <a:off x="8002023" y="4978055"/>
            <a:ext cx="282581" cy="109457"/>
          </a:xfrm>
          <a:custGeom>
            <a:avLst/>
            <a:gdLst>
              <a:gd name="T0" fmla="*/ 910 w 1135"/>
              <a:gd name="T1" fmla="*/ 216 h 441"/>
              <a:gd name="T2" fmla="*/ 1135 w 1135"/>
              <a:gd name="T3" fmla="*/ 216 h 441"/>
              <a:gd name="T4" fmla="*/ 1022 w 1135"/>
              <a:gd name="T5" fmla="*/ 277 h 441"/>
              <a:gd name="T6" fmla="*/ 1022 w 1135"/>
              <a:gd name="T7" fmla="*/ 155 h 441"/>
              <a:gd name="T8" fmla="*/ 1022 w 1135"/>
              <a:gd name="T9" fmla="*/ 277 h 441"/>
              <a:gd name="T10" fmla="*/ 275 w 1135"/>
              <a:gd name="T11" fmla="*/ 107 h 441"/>
              <a:gd name="T12" fmla="*/ 232 w 1135"/>
              <a:gd name="T13" fmla="*/ 219 h 441"/>
              <a:gd name="T14" fmla="*/ 164 w 1135"/>
              <a:gd name="T15" fmla="*/ 101 h 441"/>
              <a:gd name="T16" fmla="*/ 151 w 1135"/>
              <a:gd name="T17" fmla="*/ 106 h 441"/>
              <a:gd name="T18" fmla="*/ 58 w 1135"/>
              <a:gd name="T19" fmla="*/ 113 h 441"/>
              <a:gd name="T20" fmla="*/ 8 w 1135"/>
              <a:gd name="T21" fmla="*/ 107 h 441"/>
              <a:gd name="T22" fmla="*/ 69 w 1135"/>
              <a:gd name="T23" fmla="*/ 326 h 441"/>
              <a:gd name="T24" fmla="*/ 83 w 1135"/>
              <a:gd name="T25" fmla="*/ 332 h 441"/>
              <a:gd name="T26" fmla="*/ 162 w 1135"/>
              <a:gd name="T27" fmla="*/ 193 h 441"/>
              <a:gd name="T28" fmla="*/ 241 w 1135"/>
              <a:gd name="T29" fmla="*/ 332 h 441"/>
              <a:gd name="T30" fmla="*/ 255 w 1135"/>
              <a:gd name="T31" fmla="*/ 326 h 441"/>
              <a:gd name="T32" fmla="*/ 316 w 1135"/>
              <a:gd name="T33" fmla="*/ 107 h 441"/>
              <a:gd name="T34" fmla="*/ 371 w 1135"/>
              <a:gd name="T35" fmla="*/ 107 h 441"/>
              <a:gd name="T36" fmla="*/ 362 w 1135"/>
              <a:gd name="T37" fmla="*/ 316 h 441"/>
              <a:gd name="T38" fmla="*/ 413 w 1135"/>
              <a:gd name="T39" fmla="*/ 326 h 441"/>
              <a:gd name="T40" fmla="*/ 423 w 1135"/>
              <a:gd name="T41" fmla="*/ 117 h 441"/>
              <a:gd name="T42" fmla="*/ 596 w 1135"/>
              <a:gd name="T43" fmla="*/ 101 h 441"/>
              <a:gd name="T44" fmla="*/ 522 w 1135"/>
              <a:gd name="T45" fmla="*/ 133 h 441"/>
              <a:gd name="T46" fmla="*/ 506 w 1135"/>
              <a:gd name="T47" fmla="*/ 107 h 441"/>
              <a:gd name="T48" fmla="*/ 477 w 1135"/>
              <a:gd name="T49" fmla="*/ 117 h 441"/>
              <a:gd name="T50" fmla="*/ 486 w 1135"/>
              <a:gd name="T51" fmla="*/ 441 h 441"/>
              <a:gd name="T52" fmla="*/ 538 w 1135"/>
              <a:gd name="T53" fmla="*/ 432 h 441"/>
              <a:gd name="T54" fmla="*/ 596 w 1135"/>
              <a:gd name="T55" fmla="*/ 332 h 441"/>
              <a:gd name="T56" fmla="*/ 596 w 1135"/>
              <a:gd name="T57" fmla="*/ 101 h 441"/>
              <a:gd name="T58" fmla="*/ 538 w 1135"/>
              <a:gd name="T59" fmla="*/ 265 h 441"/>
              <a:gd name="T60" fmla="*/ 584 w 1135"/>
              <a:gd name="T61" fmla="*/ 155 h 441"/>
              <a:gd name="T62" fmla="*/ 584 w 1135"/>
              <a:gd name="T63" fmla="*/ 277 h 441"/>
              <a:gd name="T64" fmla="*/ 792 w 1135"/>
              <a:gd name="T65" fmla="*/ 133 h 441"/>
              <a:gd name="T66" fmla="*/ 776 w 1135"/>
              <a:gd name="T67" fmla="*/ 107 h 441"/>
              <a:gd name="T68" fmla="*/ 747 w 1135"/>
              <a:gd name="T69" fmla="*/ 117 h 441"/>
              <a:gd name="T70" fmla="*/ 757 w 1135"/>
              <a:gd name="T71" fmla="*/ 326 h 441"/>
              <a:gd name="T72" fmla="*/ 808 w 1135"/>
              <a:gd name="T73" fmla="*/ 316 h 441"/>
              <a:gd name="T74" fmla="*/ 870 w 1135"/>
              <a:gd name="T75" fmla="*/ 159 h 441"/>
              <a:gd name="T76" fmla="*/ 897 w 1135"/>
              <a:gd name="T77" fmla="*/ 122 h 441"/>
              <a:gd name="T78" fmla="*/ 401 w 1135"/>
              <a:gd name="T79" fmla="*/ 4 h 441"/>
              <a:gd name="T80" fmla="*/ 383 w 1135"/>
              <a:gd name="T81" fmla="*/ 70 h 441"/>
              <a:gd name="T82" fmla="*/ 401 w 1135"/>
              <a:gd name="T83" fmla="*/ 4 h 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35" h="441">
                <a:moveTo>
                  <a:pt x="1022" y="101"/>
                </a:moveTo>
                <a:cubicBezTo>
                  <a:pt x="960" y="101"/>
                  <a:pt x="910" y="152"/>
                  <a:pt x="910" y="216"/>
                </a:cubicBezTo>
                <a:cubicBezTo>
                  <a:pt x="910" y="280"/>
                  <a:pt x="960" y="332"/>
                  <a:pt x="1022" y="332"/>
                </a:cubicBezTo>
                <a:cubicBezTo>
                  <a:pt x="1084" y="332"/>
                  <a:pt x="1135" y="280"/>
                  <a:pt x="1135" y="216"/>
                </a:cubicBezTo>
                <a:cubicBezTo>
                  <a:pt x="1135" y="152"/>
                  <a:pt x="1084" y="101"/>
                  <a:pt x="1022" y="101"/>
                </a:cubicBezTo>
                <a:close/>
                <a:moveTo>
                  <a:pt x="1022" y="277"/>
                </a:moveTo>
                <a:cubicBezTo>
                  <a:pt x="990" y="277"/>
                  <a:pt x="964" y="250"/>
                  <a:pt x="964" y="216"/>
                </a:cubicBezTo>
                <a:cubicBezTo>
                  <a:pt x="964" y="183"/>
                  <a:pt x="990" y="155"/>
                  <a:pt x="1022" y="155"/>
                </a:cubicBezTo>
                <a:cubicBezTo>
                  <a:pt x="1054" y="155"/>
                  <a:pt x="1080" y="183"/>
                  <a:pt x="1080" y="216"/>
                </a:cubicBezTo>
                <a:cubicBezTo>
                  <a:pt x="1080" y="250"/>
                  <a:pt x="1054" y="277"/>
                  <a:pt x="1022" y="277"/>
                </a:cubicBezTo>
                <a:close/>
                <a:moveTo>
                  <a:pt x="316" y="107"/>
                </a:moveTo>
                <a:cubicBezTo>
                  <a:pt x="275" y="107"/>
                  <a:pt x="275" y="107"/>
                  <a:pt x="275" y="107"/>
                </a:cubicBezTo>
                <a:cubicBezTo>
                  <a:pt x="271" y="107"/>
                  <a:pt x="268" y="110"/>
                  <a:pt x="266" y="113"/>
                </a:cubicBezTo>
                <a:cubicBezTo>
                  <a:pt x="232" y="219"/>
                  <a:pt x="232" y="219"/>
                  <a:pt x="232" y="219"/>
                </a:cubicBezTo>
                <a:cubicBezTo>
                  <a:pt x="174" y="106"/>
                  <a:pt x="174" y="106"/>
                  <a:pt x="174" y="106"/>
                </a:cubicBezTo>
                <a:cubicBezTo>
                  <a:pt x="172" y="103"/>
                  <a:pt x="168" y="101"/>
                  <a:pt x="164" y="101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56" y="101"/>
                  <a:pt x="152" y="103"/>
                  <a:pt x="151" y="106"/>
                </a:cubicBezTo>
                <a:cubicBezTo>
                  <a:pt x="92" y="219"/>
                  <a:pt x="92" y="219"/>
                  <a:pt x="92" y="219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57" y="110"/>
                  <a:pt x="53" y="107"/>
                  <a:pt x="49" y="107"/>
                </a:cubicBezTo>
                <a:cubicBezTo>
                  <a:pt x="8" y="107"/>
                  <a:pt x="8" y="107"/>
                  <a:pt x="8" y="107"/>
                </a:cubicBezTo>
                <a:cubicBezTo>
                  <a:pt x="3" y="107"/>
                  <a:pt x="0" y="111"/>
                  <a:pt x="1" y="116"/>
                </a:cubicBezTo>
                <a:cubicBezTo>
                  <a:pt x="69" y="326"/>
                  <a:pt x="69" y="326"/>
                  <a:pt x="69" y="326"/>
                </a:cubicBezTo>
                <a:cubicBezTo>
                  <a:pt x="70" y="329"/>
                  <a:pt x="74" y="332"/>
                  <a:pt x="77" y="332"/>
                </a:cubicBezTo>
                <a:cubicBezTo>
                  <a:pt x="83" y="332"/>
                  <a:pt x="83" y="332"/>
                  <a:pt x="83" y="332"/>
                </a:cubicBezTo>
                <a:cubicBezTo>
                  <a:pt x="87" y="332"/>
                  <a:pt x="91" y="329"/>
                  <a:pt x="93" y="326"/>
                </a:cubicBezTo>
                <a:cubicBezTo>
                  <a:pt x="162" y="193"/>
                  <a:pt x="162" y="193"/>
                  <a:pt x="162" y="193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3" y="329"/>
                  <a:pt x="237" y="332"/>
                  <a:pt x="241" y="332"/>
                </a:cubicBezTo>
                <a:cubicBezTo>
                  <a:pt x="247" y="332"/>
                  <a:pt x="247" y="332"/>
                  <a:pt x="247" y="332"/>
                </a:cubicBezTo>
                <a:cubicBezTo>
                  <a:pt x="250" y="332"/>
                  <a:pt x="254" y="329"/>
                  <a:pt x="255" y="32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5" y="111"/>
                  <a:pt x="322" y="107"/>
                  <a:pt x="316" y="107"/>
                </a:cubicBezTo>
                <a:close/>
                <a:moveTo>
                  <a:pt x="413" y="107"/>
                </a:moveTo>
                <a:cubicBezTo>
                  <a:pt x="371" y="107"/>
                  <a:pt x="371" y="107"/>
                  <a:pt x="371" y="107"/>
                </a:cubicBezTo>
                <a:cubicBezTo>
                  <a:pt x="366" y="107"/>
                  <a:pt x="362" y="111"/>
                  <a:pt x="362" y="117"/>
                </a:cubicBezTo>
                <a:cubicBezTo>
                  <a:pt x="362" y="316"/>
                  <a:pt x="362" y="316"/>
                  <a:pt x="362" y="316"/>
                </a:cubicBezTo>
                <a:cubicBezTo>
                  <a:pt x="362" y="321"/>
                  <a:pt x="366" y="326"/>
                  <a:pt x="371" y="326"/>
                </a:cubicBezTo>
                <a:cubicBezTo>
                  <a:pt x="413" y="326"/>
                  <a:pt x="413" y="326"/>
                  <a:pt x="413" y="326"/>
                </a:cubicBezTo>
                <a:cubicBezTo>
                  <a:pt x="418" y="326"/>
                  <a:pt x="423" y="321"/>
                  <a:pt x="423" y="316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1"/>
                  <a:pt x="418" y="107"/>
                  <a:pt x="413" y="107"/>
                </a:cubicBezTo>
                <a:close/>
                <a:moveTo>
                  <a:pt x="596" y="101"/>
                </a:moveTo>
                <a:cubicBezTo>
                  <a:pt x="567" y="101"/>
                  <a:pt x="541" y="113"/>
                  <a:pt x="522" y="133"/>
                </a:cubicBezTo>
                <a:cubicBezTo>
                  <a:pt x="522" y="133"/>
                  <a:pt x="522" y="133"/>
                  <a:pt x="522" y="133"/>
                </a:cubicBezTo>
                <a:cubicBezTo>
                  <a:pt x="514" y="113"/>
                  <a:pt x="514" y="113"/>
                  <a:pt x="514" y="113"/>
                </a:cubicBezTo>
                <a:cubicBezTo>
                  <a:pt x="513" y="110"/>
                  <a:pt x="509" y="107"/>
                  <a:pt x="506" y="107"/>
                </a:cubicBezTo>
                <a:cubicBezTo>
                  <a:pt x="486" y="107"/>
                  <a:pt x="486" y="107"/>
                  <a:pt x="486" y="107"/>
                </a:cubicBezTo>
                <a:cubicBezTo>
                  <a:pt x="481" y="107"/>
                  <a:pt x="477" y="111"/>
                  <a:pt x="477" y="117"/>
                </a:cubicBezTo>
                <a:cubicBezTo>
                  <a:pt x="477" y="432"/>
                  <a:pt x="477" y="432"/>
                  <a:pt x="477" y="432"/>
                </a:cubicBezTo>
                <a:cubicBezTo>
                  <a:pt x="477" y="437"/>
                  <a:pt x="481" y="441"/>
                  <a:pt x="486" y="441"/>
                </a:cubicBezTo>
                <a:cubicBezTo>
                  <a:pt x="528" y="441"/>
                  <a:pt x="528" y="441"/>
                  <a:pt x="528" y="441"/>
                </a:cubicBezTo>
                <a:cubicBezTo>
                  <a:pt x="533" y="441"/>
                  <a:pt x="538" y="437"/>
                  <a:pt x="538" y="432"/>
                </a:cubicBezTo>
                <a:cubicBezTo>
                  <a:pt x="538" y="322"/>
                  <a:pt x="538" y="322"/>
                  <a:pt x="538" y="322"/>
                </a:cubicBezTo>
                <a:cubicBezTo>
                  <a:pt x="555" y="328"/>
                  <a:pt x="575" y="332"/>
                  <a:pt x="596" y="332"/>
                </a:cubicBezTo>
                <a:cubicBezTo>
                  <a:pt x="654" y="332"/>
                  <a:pt x="702" y="280"/>
                  <a:pt x="702" y="216"/>
                </a:cubicBezTo>
                <a:cubicBezTo>
                  <a:pt x="702" y="152"/>
                  <a:pt x="654" y="101"/>
                  <a:pt x="596" y="101"/>
                </a:cubicBezTo>
                <a:close/>
                <a:moveTo>
                  <a:pt x="584" y="277"/>
                </a:moveTo>
                <a:cubicBezTo>
                  <a:pt x="567" y="277"/>
                  <a:pt x="551" y="273"/>
                  <a:pt x="538" y="265"/>
                </a:cubicBezTo>
                <a:cubicBezTo>
                  <a:pt x="538" y="182"/>
                  <a:pt x="538" y="182"/>
                  <a:pt x="538" y="182"/>
                </a:cubicBezTo>
                <a:cubicBezTo>
                  <a:pt x="548" y="166"/>
                  <a:pt x="565" y="155"/>
                  <a:pt x="584" y="155"/>
                </a:cubicBezTo>
                <a:cubicBezTo>
                  <a:pt x="615" y="155"/>
                  <a:pt x="640" y="183"/>
                  <a:pt x="640" y="216"/>
                </a:cubicBezTo>
                <a:cubicBezTo>
                  <a:pt x="640" y="250"/>
                  <a:pt x="615" y="277"/>
                  <a:pt x="584" y="277"/>
                </a:cubicBezTo>
                <a:close/>
                <a:moveTo>
                  <a:pt x="856" y="101"/>
                </a:moveTo>
                <a:cubicBezTo>
                  <a:pt x="816" y="101"/>
                  <a:pt x="792" y="133"/>
                  <a:pt x="792" y="133"/>
                </a:cubicBezTo>
                <a:cubicBezTo>
                  <a:pt x="785" y="113"/>
                  <a:pt x="785" y="113"/>
                  <a:pt x="785" y="113"/>
                </a:cubicBezTo>
                <a:cubicBezTo>
                  <a:pt x="784" y="110"/>
                  <a:pt x="780" y="107"/>
                  <a:pt x="776" y="107"/>
                </a:cubicBezTo>
                <a:cubicBezTo>
                  <a:pt x="757" y="107"/>
                  <a:pt x="757" y="107"/>
                  <a:pt x="757" y="107"/>
                </a:cubicBezTo>
                <a:cubicBezTo>
                  <a:pt x="752" y="107"/>
                  <a:pt x="747" y="111"/>
                  <a:pt x="747" y="117"/>
                </a:cubicBezTo>
                <a:cubicBezTo>
                  <a:pt x="747" y="316"/>
                  <a:pt x="747" y="316"/>
                  <a:pt x="747" y="316"/>
                </a:cubicBezTo>
                <a:cubicBezTo>
                  <a:pt x="747" y="321"/>
                  <a:pt x="752" y="326"/>
                  <a:pt x="757" y="326"/>
                </a:cubicBezTo>
                <a:cubicBezTo>
                  <a:pt x="799" y="326"/>
                  <a:pt x="799" y="326"/>
                  <a:pt x="799" y="326"/>
                </a:cubicBezTo>
                <a:cubicBezTo>
                  <a:pt x="804" y="326"/>
                  <a:pt x="808" y="321"/>
                  <a:pt x="808" y="316"/>
                </a:cubicBezTo>
                <a:cubicBezTo>
                  <a:pt x="808" y="176"/>
                  <a:pt x="808" y="176"/>
                  <a:pt x="808" y="176"/>
                </a:cubicBezTo>
                <a:cubicBezTo>
                  <a:pt x="833" y="147"/>
                  <a:pt x="864" y="157"/>
                  <a:pt x="870" y="159"/>
                </a:cubicBezTo>
                <a:cubicBezTo>
                  <a:pt x="876" y="162"/>
                  <a:pt x="881" y="159"/>
                  <a:pt x="883" y="155"/>
                </a:cubicBezTo>
                <a:cubicBezTo>
                  <a:pt x="885" y="150"/>
                  <a:pt x="894" y="130"/>
                  <a:pt x="897" y="122"/>
                </a:cubicBezTo>
                <a:cubicBezTo>
                  <a:pt x="901" y="114"/>
                  <a:pt x="896" y="101"/>
                  <a:pt x="856" y="101"/>
                </a:cubicBezTo>
                <a:close/>
                <a:moveTo>
                  <a:pt x="401" y="4"/>
                </a:moveTo>
                <a:cubicBezTo>
                  <a:pt x="383" y="0"/>
                  <a:pt x="364" y="10"/>
                  <a:pt x="360" y="28"/>
                </a:cubicBezTo>
                <a:cubicBezTo>
                  <a:pt x="355" y="46"/>
                  <a:pt x="365" y="65"/>
                  <a:pt x="383" y="70"/>
                </a:cubicBezTo>
                <a:cubicBezTo>
                  <a:pt x="401" y="74"/>
                  <a:pt x="420" y="64"/>
                  <a:pt x="425" y="46"/>
                </a:cubicBezTo>
                <a:cubicBezTo>
                  <a:pt x="430" y="28"/>
                  <a:pt x="419" y="9"/>
                  <a:pt x="401" y="4"/>
                </a:cubicBezTo>
                <a:close/>
              </a:path>
            </a:pathLst>
          </a:custGeom>
          <a:solidFill>
            <a:srgbClr val="34195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 sz="1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7" name="TextBox 176"/>
          <p:cNvSpPr txBox="1"/>
          <p:nvPr userDrawn="1"/>
        </p:nvSpPr>
        <p:spPr>
          <a:xfrm>
            <a:off x="8264669" y="4933519"/>
            <a:ext cx="61358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/>
            <a:r>
              <a:rPr lang="en-US" sz="600" dirty="0">
                <a:solidFill>
                  <a:srgbClr val="646363"/>
                </a:solidFill>
                <a:sym typeface="+mn-lt"/>
              </a:rPr>
              <a:t>confidential</a:t>
            </a:r>
          </a:p>
        </p:txBody>
      </p:sp>
      <p:grpSp>
        <p:nvGrpSpPr>
          <p:cNvPr id="178" name="Group 177"/>
          <p:cNvGrpSpPr/>
          <p:nvPr userDrawn="1"/>
        </p:nvGrpSpPr>
        <p:grpSpPr>
          <a:xfrm>
            <a:off x="71949" y="4978615"/>
            <a:ext cx="503788" cy="94721"/>
            <a:chOff x="6014087" y="4646472"/>
            <a:chExt cx="503788" cy="94721"/>
          </a:xfrm>
        </p:grpSpPr>
        <p:sp>
          <p:nvSpPr>
            <p:cNvPr id="179" name="Oval 178"/>
            <p:cNvSpPr>
              <a:spLocks noChangeArrowheads="1"/>
            </p:cNvSpPr>
            <p:nvPr/>
          </p:nvSpPr>
          <p:spPr bwMode="auto">
            <a:xfrm flipH="1">
              <a:off x="6423171" y="4646472"/>
              <a:ext cx="94704" cy="9472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r>
                <a:rPr lang="en-US" sz="1800" dirty="0">
                  <a:solidFill>
                    <a:srgbClr val="000000"/>
                  </a:solidFill>
                  <a:sym typeface="+mn-lt"/>
                </a:rPr>
                <a:t> </a:t>
              </a:r>
            </a:p>
          </p:txBody>
        </p:sp>
        <p:sp>
          <p:nvSpPr>
            <p:cNvPr id="180" name="Oval 179"/>
            <p:cNvSpPr>
              <a:spLocks noChangeArrowheads="1"/>
            </p:cNvSpPr>
            <p:nvPr/>
          </p:nvSpPr>
          <p:spPr bwMode="auto">
            <a:xfrm flipH="1">
              <a:off x="6320900" y="4646472"/>
              <a:ext cx="94704" cy="947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181" name="Oval 180"/>
            <p:cNvSpPr>
              <a:spLocks noChangeArrowheads="1"/>
            </p:cNvSpPr>
            <p:nvPr/>
          </p:nvSpPr>
          <p:spPr bwMode="auto">
            <a:xfrm flipH="1">
              <a:off x="6218629" y="4646472"/>
              <a:ext cx="94704" cy="9472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182" name="Oval 181"/>
            <p:cNvSpPr>
              <a:spLocks noChangeArrowheads="1"/>
            </p:cNvSpPr>
            <p:nvPr/>
          </p:nvSpPr>
          <p:spPr bwMode="auto">
            <a:xfrm flipH="1">
              <a:off x="6116358" y="4646472"/>
              <a:ext cx="94704" cy="9472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183" name="Oval 182"/>
            <p:cNvSpPr>
              <a:spLocks noChangeArrowheads="1"/>
            </p:cNvSpPr>
            <p:nvPr/>
          </p:nvSpPr>
          <p:spPr bwMode="auto">
            <a:xfrm flipH="1">
              <a:off x="6014087" y="4646472"/>
              <a:ext cx="94704" cy="9472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000000"/>
                </a:solidFill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3565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er with Client/Partn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eyfade-jon-flobrant-193464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656749" y="0"/>
            <a:ext cx="6502359" cy="4702629"/>
          </a:xfrm>
          <a:prstGeom prst="rect">
            <a:avLst/>
          </a:prstGeom>
        </p:spPr>
      </p:pic>
      <p:sp>
        <p:nvSpPr>
          <p:cNvPr id="21" name="object 5"/>
          <p:cNvSpPr/>
          <p:nvPr userDrawn="1"/>
        </p:nvSpPr>
        <p:spPr>
          <a:xfrm>
            <a:off x="8432007" y="2232419"/>
            <a:ext cx="462845" cy="462846"/>
          </a:xfrm>
          <a:custGeom>
            <a:avLst/>
            <a:gdLst/>
            <a:ahLst/>
            <a:cxnLst/>
            <a:rect l="l" t="t" r="r" b="b"/>
            <a:pathLst>
              <a:path w="1880363" h="1880368">
                <a:moveTo>
                  <a:pt x="940185" y="0"/>
                </a:moveTo>
                <a:lnTo>
                  <a:pt x="868058" y="2753"/>
                </a:lnTo>
                <a:lnTo>
                  <a:pt x="796273" y="11014"/>
                </a:lnTo>
                <a:lnTo>
                  <a:pt x="725172" y="24783"/>
                </a:lnTo>
                <a:lnTo>
                  <a:pt x="655098" y="44059"/>
                </a:lnTo>
                <a:lnTo>
                  <a:pt x="586392" y="68843"/>
                </a:lnTo>
                <a:lnTo>
                  <a:pt x="519398" y="99134"/>
                </a:lnTo>
                <a:lnTo>
                  <a:pt x="454457" y="134933"/>
                </a:lnTo>
                <a:lnTo>
                  <a:pt x="391911" y="176239"/>
                </a:lnTo>
                <a:lnTo>
                  <a:pt x="332102" y="223052"/>
                </a:lnTo>
                <a:lnTo>
                  <a:pt x="275373" y="275373"/>
                </a:lnTo>
                <a:lnTo>
                  <a:pt x="223052" y="332102"/>
                </a:lnTo>
                <a:lnTo>
                  <a:pt x="176239" y="391910"/>
                </a:lnTo>
                <a:lnTo>
                  <a:pt x="134933" y="454456"/>
                </a:lnTo>
                <a:lnTo>
                  <a:pt x="99134" y="519397"/>
                </a:lnTo>
                <a:lnTo>
                  <a:pt x="68843" y="586391"/>
                </a:lnTo>
                <a:lnTo>
                  <a:pt x="44059" y="655097"/>
                </a:lnTo>
                <a:lnTo>
                  <a:pt x="24783" y="725171"/>
                </a:lnTo>
                <a:lnTo>
                  <a:pt x="11014" y="796271"/>
                </a:lnTo>
                <a:lnTo>
                  <a:pt x="2753" y="868056"/>
                </a:lnTo>
                <a:lnTo>
                  <a:pt x="0" y="940184"/>
                </a:lnTo>
                <a:lnTo>
                  <a:pt x="2753" y="1012311"/>
                </a:lnTo>
                <a:lnTo>
                  <a:pt x="11014" y="1084096"/>
                </a:lnTo>
                <a:lnTo>
                  <a:pt x="24783" y="1155197"/>
                </a:lnTo>
                <a:lnTo>
                  <a:pt x="44059" y="1225271"/>
                </a:lnTo>
                <a:lnTo>
                  <a:pt x="68843" y="1293976"/>
                </a:lnTo>
                <a:lnTo>
                  <a:pt x="99134" y="1360970"/>
                </a:lnTo>
                <a:lnTo>
                  <a:pt x="134933" y="1425911"/>
                </a:lnTo>
                <a:lnTo>
                  <a:pt x="176239" y="1488457"/>
                </a:lnTo>
                <a:lnTo>
                  <a:pt x="223052" y="1548266"/>
                </a:lnTo>
                <a:lnTo>
                  <a:pt x="275373" y="1604994"/>
                </a:lnTo>
                <a:lnTo>
                  <a:pt x="332102" y="1657315"/>
                </a:lnTo>
                <a:lnTo>
                  <a:pt x="391911" y="1704129"/>
                </a:lnTo>
                <a:lnTo>
                  <a:pt x="454457" y="1745435"/>
                </a:lnTo>
                <a:lnTo>
                  <a:pt x="519398" y="1781233"/>
                </a:lnTo>
                <a:lnTo>
                  <a:pt x="586392" y="1811524"/>
                </a:lnTo>
                <a:lnTo>
                  <a:pt x="655098" y="1836308"/>
                </a:lnTo>
                <a:lnTo>
                  <a:pt x="725172" y="1855584"/>
                </a:lnTo>
                <a:lnTo>
                  <a:pt x="796273" y="1869353"/>
                </a:lnTo>
                <a:lnTo>
                  <a:pt x="868058" y="1877614"/>
                </a:lnTo>
                <a:lnTo>
                  <a:pt x="940185" y="1880368"/>
                </a:lnTo>
                <a:lnTo>
                  <a:pt x="1012312" y="1877614"/>
                </a:lnTo>
                <a:lnTo>
                  <a:pt x="1084097" y="1869353"/>
                </a:lnTo>
                <a:lnTo>
                  <a:pt x="1155197" y="1855584"/>
                </a:lnTo>
                <a:lnTo>
                  <a:pt x="1225271" y="1836308"/>
                </a:lnTo>
                <a:lnTo>
                  <a:pt x="1293976" y="1811524"/>
                </a:lnTo>
                <a:lnTo>
                  <a:pt x="1360970" y="1781233"/>
                </a:lnTo>
                <a:lnTo>
                  <a:pt x="1425911" y="1745435"/>
                </a:lnTo>
                <a:lnTo>
                  <a:pt x="1488456" y="1704129"/>
                </a:lnTo>
                <a:lnTo>
                  <a:pt x="1548264" y="1657315"/>
                </a:lnTo>
                <a:lnTo>
                  <a:pt x="1604992" y="1604994"/>
                </a:lnTo>
                <a:lnTo>
                  <a:pt x="1657313" y="1548266"/>
                </a:lnTo>
                <a:lnTo>
                  <a:pt x="1704126" y="1488457"/>
                </a:lnTo>
                <a:lnTo>
                  <a:pt x="1745432" y="1425911"/>
                </a:lnTo>
                <a:lnTo>
                  <a:pt x="1781230" y="1360970"/>
                </a:lnTo>
                <a:lnTo>
                  <a:pt x="1811521" y="1293976"/>
                </a:lnTo>
                <a:lnTo>
                  <a:pt x="1836304" y="1225271"/>
                </a:lnTo>
                <a:lnTo>
                  <a:pt x="1855580" y="1155197"/>
                </a:lnTo>
                <a:lnTo>
                  <a:pt x="1869349" y="1084096"/>
                </a:lnTo>
                <a:lnTo>
                  <a:pt x="1877610" y="1012311"/>
                </a:lnTo>
                <a:lnTo>
                  <a:pt x="1880363" y="940184"/>
                </a:lnTo>
                <a:lnTo>
                  <a:pt x="1877610" y="868056"/>
                </a:lnTo>
                <a:lnTo>
                  <a:pt x="1869349" y="796271"/>
                </a:lnTo>
                <a:lnTo>
                  <a:pt x="1855580" y="725171"/>
                </a:lnTo>
                <a:lnTo>
                  <a:pt x="1836304" y="655097"/>
                </a:lnTo>
                <a:lnTo>
                  <a:pt x="1811521" y="586391"/>
                </a:lnTo>
                <a:lnTo>
                  <a:pt x="1781230" y="519397"/>
                </a:lnTo>
                <a:lnTo>
                  <a:pt x="1745432" y="454456"/>
                </a:lnTo>
                <a:lnTo>
                  <a:pt x="1704126" y="391910"/>
                </a:lnTo>
                <a:lnTo>
                  <a:pt x="1657313" y="332102"/>
                </a:lnTo>
                <a:lnTo>
                  <a:pt x="1604992" y="275373"/>
                </a:lnTo>
                <a:lnTo>
                  <a:pt x="1548264" y="223052"/>
                </a:lnTo>
                <a:lnTo>
                  <a:pt x="1488456" y="176239"/>
                </a:lnTo>
                <a:lnTo>
                  <a:pt x="1425911" y="134933"/>
                </a:lnTo>
                <a:lnTo>
                  <a:pt x="1360970" y="99134"/>
                </a:lnTo>
                <a:lnTo>
                  <a:pt x="1293976" y="68843"/>
                </a:lnTo>
                <a:lnTo>
                  <a:pt x="1225271" y="44059"/>
                </a:lnTo>
                <a:lnTo>
                  <a:pt x="1155197" y="24783"/>
                </a:lnTo>
                <a:lnTo>
                  <a:pt x="1084097" y="11014"/>
                </a:lnTo>
                <a:lnTo>
                  <a:pt x="1012312" y="2753"/>
                </a:lnTo>
                <a:lnTo>
                  <a:pt x="940185" y="0"/>
                </a:lnTo>
                <a:close/>
              </a:path>
            </a:pathLst>
          </a:custGeom>
          <a:solidFill>
            <a:schemeClr val="accent6">
              <a:alpha val="56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object 5"/>
          <p:cNvSpPr/>
          <p:nvPr userDrawn="1"/>
        </p:nvSpPr>
        <p:spPr>
          <a:xfrm>
            <a:off x="7724016" y="3569542"/>
            <a:ext cx="391505" cy="391506"/>
          </a:xfrm>
          <a:custGeom>
            <a:avLst/>
            <a:gdLst/>
            <a:ahLst/>
            <a:cxnLst/>
            <a:rect l="l" t="t" r="r" b="b"/>
            <a:pathLst>
              <a:path w="1880363" h="1880368">
                <a:moveTo>
                  <a:pt x="940185" y="0"/>
                </a:moveTo>
                <a:lnTo>
                  <a:pt x="868058" y="2753"/>
                </a:lnTo>
                <a:lnTo>
                  <a:pt x="796273" y="11014"/>
                </a:lnTo>
                <a:lnTo>
                  <a:pt x="725172" y="24783"/>
                </a:lnTo>
                <a:lnTo>
                  <a:pt x="655098" y="44059"/>
                </a:lnTo>
                <a:lnTo>
                  <a:pt x="586392" y="68843"/>
                </a:lnTo>
                <a:lnTo>
                  <a:pt x="519398" y="99134"/>
                </a:lnTo>
                <a:lnTo>
                  <a:pt x="454457" y="134933"/>
                </a:lnTo>
                <a:lnTo>
                  <a:pt x="391911" y="176239"/>
                </a:lnTo>
                <a:lnTo>
                  <a:pt x="332102" y="223052"/>
                </a:lnTo>
                <a:lnTo>
                  <a:pt x="275373" y="275373"/>
                </a:lnTo>
                <a:lnTo>
                  <a:pt x="223052" y="332102"/>
                </a:lnTo>
                <a:lnTo>
                  <a:pt x="176239" y="391910"/>
                </a:lnTo>
                <a:lnTo>
                  <a:pt x="134933" y="454456"/>
                </a:lnTo>
                <a:lnTo>
                  <a:pt x="99134" y="519397"/>
                </a:lnTo>
                <a:lnTo>
                  <a:pt x="68843" y="586391"/>
                </a:lnTo>
                <a:lnTo>
                  <a:pt x="44059" y="655097"/>
                </a:lnTo>
                <a:lnTo>
                  <a:pt x="24783" y="725171"/>
                </a:lnTo>
                <a:lnTo>
                  <a:pt x="11014" y="796271"/>
                </a:lnTo>
                <a:lnTo>
                  <a:pt x="2753" y="868056"/>
                </a:lnTo>
                <a:lnTo>
                  <a:pt x="0" y="940184"/>
                </a:lnTo>
                <a:lnTo>
                  <a:pt x="2753" y="1012311"/>
                </a:lnTo>
                <a:lnTo>
                  <a:pt x="11014" y="1084096"/>
                </a:lnTo>
                <a:lnTo>
                  <a:pt x="24783" y="1155197"/>
                </a:lnTo>
                <a:lnTo>
                  <a:pt x="44059" y="1225271"/>
                </a:lnTo>
                <a:lnTo>
                  <a:pt x="68843" y="1293976"/>
                </a:lnTo>
                <a:lnTo>
                  <a:pt x="99134" y="1360970"/>
                </a:lnTo>
                <a:lnTo>
                  <a:pt x="134933" y="1425911"/>
                </a:lnTo>
                <a:lnTo>
                  <a:pt x="176239" y="1488457"/>
                </a:lnTo>
                <a:lnTo>
                  <a:pt x="223052" y="1548266"/>
                </a:lnTo>
                <a:lnTo>
                  <a:pt x="275373" y="1604994"/>
                </a:lnTo>
                <a:lnTo>
                  <a:pt x="332102" y="1657315"/>
                </a:lnTo>
                <a:lnTo>
                  <a:pt x="391911" y="1704129"/>
                </a:lnTo>
                <a:lnTo>
                  <a:pt x="454457" y="1745435"/>
                </a:lnTo>
                <a:lnTo>
                  <a:pt x="519398" y="1781233"/>
                </a:lnTo>
                <a:lnTo>
                  <a:pt x="586392" y="1811524"/>
                </a:lnTo>
                <a:lnTo>
                  <a:pt x="655098" y="1836308"/>
                </a:lnTo>
                <a:lnTo>
                  <a:pt x="725172" y="1855584"/>
                </a:lnTo>
                <a:lnTo>
                  <a:pt x="796273" y="1869353"/>
                </a:lnTo>
                <a:lnTo>
                  <a:pt x="868058" y="1877614"/>
                </a:lnTo>
                <a:lnTo>
                  <a:pt x="940185" y="1880368"/>
                </a:lnTo>
                <a:lnTo>
                  <a:pt x="1012312" y="1877614"/>
                </a:lnTo>
                <a:lnTo>
                  <a:pt x="1084097" y="1869353"/>
                </a:lnTo>
                <a:lnTo>
                  <a:pt x="1155197" y="1855584"/>
                </a:lnTo>
                <a:lnTo>
                  <a:pt x="1225271" y="1836308"/>
                </a:lnTo>
                <a:lnTo>
                  <a:pt x="1293976" y="1811524"/>
                </a:lnTo>
                <a:lnTo>
                  <a:pt x="1360970" y="1781233"/>
                </a:lnTo>
                <a:lnTo>
                  <a:pt x="1425911" y="1745435"/>
                </a:lnTo>
                <a:lnTo>
                  <a:pt x="1488456" y="1704129"/>
                </a:lnTo>
                <a:lnTo>
                  <a:pt x="1548264" y="1657315"/>
                </a:lnTo>
                <a:lnTo>
                  <a:pt x="1604992" y="1604994"/>
                </a:lnTo>
                <a:lnTo>
                  <a:pt x="1657313" y="1548266"/>
                </a:lnTo>
                <a:lnTo>
                  <a:pt x="1704126" y="1488457"/>
                </a:lnTo>
                <a:lnTo>
                  <a:pt x="1745432" y="1425911"/>
                </a:lnTo>
                <a:lnTo>
                  <a:pt x="1781230" y="1360970"/>
                </a:lnTo>
                <a:lnTo>
                  <a:pt x="1811521" y="1293976"/>
                </a:lnTo>
                <a:lnTo>
                  <a:pt x="1836304" y="1225271"/>
                </a:lnTo>
                <a:lnTo>
                  <a:pt x="1855580" y="1155197"/>
                </a:lnTo>
                <a:lnTo>
                  <a:pt x="1869349" y="1084096"/>
                </a:lnTo>
                <a:lnTo>
                  <a:pt x="1877610" y="1012311"/>
                </a:lnTo>
                <a:lnTo>
                  <a:pt x="1880363" y="940184"/>
                </a:lnTo>
                <a:lnTo>
                  <a:pt x="1877610" y="868056"/>
                </a:lnTo>
                <a:lnTo>
                  <a:pt x="1869349" y="796271"/>
                </a:lnTo>
                <a:lnTo>
                  <a:pt x="1855580" y="725171"/>
                </a:lnTo>
                <a:lnTo>
                  <a:pt x="1836304" y="655097"/>
                </a:lnTo>
                <a:lnTo>
                  <a:pt x="1811521" y="586391"/>
                </a:lnTo>
                <a:lnTo>
                  <a:pt x="1781230" y="519397"/>
                </a:lnTo>
                <a:lnTo>
                  <a:pt x="1745432" y="454456"/>
                </a:lnTo>
                <a:lnTo>
                  <a:pt x="1704126" y="391910"/>
                </a:lnTo>
                <a:lnTo>
                  <a:pt x="1657313" y="332102"/>
                </a:lnTo>
                <a:lnTo>
                  <a:pt x="1604992" y="275373"/>
                </a:lnTo>
                <a:lnTo>
                  <a:pt x="1548264" y="223052"/>
                </a:lnTo>
                <a:lnTo>
                  <a:pt x="1488456" y="176239"/>
                </a:lnTo>
                <a:lnTo>
                  <a:pt x="1425911" y="134933"/>
                </a:lnTo>
                <a:lnTo>
                  <a:pt x="1360970" y="99134"/>
                </a:lnTo>
                <a:lnTo>
                  <a:pt x="1293976" y="68843"/>
                </a:lnTo>
                <a:lnTo>
                  <a:pt x="1225271" y="44059"/>
                </a:lnTo>
                <a:lnTo>
                  <a:pt x="1155197" y="24783"/>
                </a:lnTo>
                <a:lnTo>
                  <a:pt x="1084097" y="11014"/>
                </a:lnTo>
                <a:lnTo>
                  <a:pt x="1012312" y="2753"/>
                </a:lnTo>
                <a:lnTo>
                  <a:pt x="940185" y="0"/>
                </a:lnTo>
                <a:close/>
              </a:path>
            </a:pathLst>
          </a:custGeom>
          <a:solidFill>
            <a:schemeClr val="accent4">
              <a:alpha val="56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object 5"/>
          <p:cNvSpPr/>
          <p:nvPr userDrawn="1"/>
        </p:nvSpPr>
        <p:spPr>
          <a:xfrm>
            <a:off x="6081105" y="1637694"/>
            <a:ext cx="357794" cy="357794"/>
          </a:xfrm>
          <a:custGeom>
            <a:avLst/>
            <a:gdLst/>
            <a:ahLst/>
            <a:cxnLst/>
            <a:rect l="l" t="t" r="r" b="b"/>
            <a:pathLst>
              <a:path w="1880363" h="1880368">
                <a:moveTo>
                  <a:pt x="940185" y="0"/>
                </a:moveTo>
                <a:lnTo>
                  <a:pt x="868058" y="2753"/>
                </a:lnTo>
                <a:lnTo>
                  <a:pt x="796273" y="11014"/>
                </a:lnTo>
                <a:lnTo>
                  <a:pt x="725172" y="24783"/>
                </a:lnTo>
                <a:lnTo>
                  <a:pt x="655098" y="44059"/>
                </a:lnTo>
                <a:lnTo>
                  <a:pt x="586392" y="68843"/>
                </a:lnTo>
                <a:lnTo>
                  <a:pt x="519398" y="99134"/>
                </a:lnTo>
                <a:lnTo>
                  <a:pt x="454457" y="134933"/>
                </a:lnTo>
                <a:lnTo>
                  <a:pt x="391911" y="176239"/>
                </a:lnTo>
                <a:lnTo>
                  <a:pt x="332102" y="223052"/>
                </a:lnTo>
                <a:lnTo>
                  <a:pt x="275373" y="275373"/>
                </a:lnTo>
                <a:lnTo>
                  <a:pt x="223052" y="332102"/>
                </a:lnTo>
                <a:lnTo>
                  <a:pt x="176239" y="391910"/>
                </a:lnTo>
                <a:lnTo>
                  <a:pt x="134933" y="454456"/>
                </a:lnTo>
                <a:lnTo>
                  <a:pt x="99134" y="519397"/>
                </a:lnTo>
                <a:lnTo>
                  <a:pt x="68843" y="586391"/>
                </a:lnTo>
                <a:lnTo>
                  <a:pt x="44059" y="655097"/>
                </a:lnTo>
                <a:lnTo>
                  <a:pt x="24783" y="725171"/>
                </a:lnTo>
                <a:lnTo>
                  <a:pt x="11014" y="796271"/>
                </a:lnTo>
                <a:lnTo>
                  <a:pt x="2753" y="868056"/>
                </a:lnTo>
                <a:lnTo>
                  <a:pt x="0" y="940184"/>
                </a:lnTo>
                <a:lnTo>
                  <a:pt x="2753" y="1012311"/>
                </a:lnTo>
                <a:lnTo>
                  <a:pt x="11014" y="1084096"/>
                </a:lnTo>
                <a:lnTo>
                  <a:pt x="24783" y="1155197"/>
                </a:lnTo>
                <a:lnTo>
                  <a:pt x="44059" y="1225271"/>
                </a:lnTo>
                <a:lnTo>
                  <a:pt x="68843" y="1293976"/>
                </a:lnTo>
                <a:lnTo>
                  <a:pt x="99134" y="1360970"/>
                </a:lnTo>
                <a:lnTo>
                  <a:pt x="134933" y="1425911"/>
                </a:lnTo>
                <a:lnTo>
                  <a:pt x="176239" y="1488457"/>
                </a:lnTo>
                <a:lnTo>
                  <a:pt x="223052" y="1548266"/>
                </a:lnTo>
                <a:lnTo>
                  <a:pt x="275373" y="1604994"/>
                </a:lnTo>
                <a:lnTo>
                  <a:pt x="332102" y="1657315"/>
                </a:lnTo>
                <a:lnTo>
                  <a:pt x="391911" y="1704129"/>
                </a:lnTo>
                <a:lnTo>
                  <a:pt x="454457" y="1745435"/>
                </a:lnTo>
                <a:lnTo>
                  <a:pt x="519398" y="1781233"/>
                </a:lnTo>
                <a:lnTo>
                  <a:pt x="586392" y="1811524"/>
                </a:lnTo>
                <a:lnTo>
                  <a:pt x="655098" y="1836308"/>
                </a:lnTo>
                <a:lnTo>
                  <a:pt x="725172" y="1855584"/>
                </a:lnTo>
                <a:lnTo>
                  <a:pt x="796273" y="1869353"/>
                </a:lnTo>
                <a:lnTo>
                  <a:pt x="868058" y="1877614"/>
                </a:lnTo>
                <a:lnTo>
                  <a:pt x="940185" y="1880368"/>
                </a:lnTo>
                <a:lnTo>
                  <a:pt x="1012312" y="1877614"/>
                </a:lnTo>
                <a:lnTo>
                  <a:pt x="1084097" y="1869353"/>
                </a:lnTo>
                <a:lnTo>
                  <a:pt x="1155197" y="1855584"/>
                </a:lnTo>
                <a:lnTo>
                  <a:pt x="1225271" y="1836308"/>
                </a:lnTo>
                <a:lnTo>
                  <a:pt x="1293976" y="1811524"/>
                </a:lnTo>
                <a:lnTo>
                  <a:pt x="1360970" y="1781233"/>
                </a:lnTo>
                <a:lnTo>
                  <a:pt x="1425911" y="1745435"/>
                </a:lnTo>
                <a:lnTo>
                  <a:pt x="1488456" y="1704129"/>
                </a:lnTo>
                <a:lnTo>
                  <a:pt x="1548264" y="1657315"/>
                </a:lnTo>
                <a:lnTo>
                  <a:pt x="1604992" y="1604994"/>
                </a:lnTo>
                <a:lnTo>
                  <a:pt x="1657313" y="1548266"/>
                </a:lnTo>
                <a:lnTo>
                  <a:pt x="1704126" y="1488457"/>
                </a:lnTo>
                <a:lnTo>
                  <a:pt x="1745432" y="1425911"/>
                </a:lnTo>
                <a:lnTo>
                  <a:pt x="1781230" y="1360970"/>
                </a:lnTo>
                <a:lnTo>
                  <a:pt x="1811521" y="1293976"/>
                </a:lnTo>
                <a:lnTo>
                  <a:pt x="1836304" y="1225271"/>
                </a:lnTo>
                <a:lnTo>
                  <a:pt x="1855580" y="1155197"/>
                </a:lnTo>
                <a:lnTo>
                  <a:pt x="1869349" y="1084096"/>
                </a:lnTo>
                <a:lnTo>
                  <a:pt x="1877610" y="1012311"/>
                </a:lnTo>
                <a:lnTo>
                  <a:pt x="1880363" y="940184"/>
                </a:lnTo>
                <a:lnTo>
                  <a:pt x="1877610" y="868056"/>
                </a:lnTo>
                <a:lnTo>
                  <a:pt x="1869349" y="796271"/>
                </a:lnTo>
                <a:lnTo>
                  <a:pt x="1855580" y="725171"/>
                </a:lnTo>
                <a:lnTo>
                  <a:pt x="1836304" y="655097"/>
                </a:lnTo>
                <a:lnTo>
                  <a:pt x="1811521" y="586391"/>
                </a:lnTo>
                <a:lnTo>
                  <a:pt x="1781230" y="519397"/>
                </a:lnTo>
                <a:lnTo>
                  <a:pt x="1745432" y="454456"/>
                </a:lnTo>
                <a:lnTo>
                  <a:pt x="1704126" y="391910"/>
                </a:lnTo>
                <a:lnTo>
                  <a:pt x="1657313" y="332102"/>
                </a:lnTo>
                <a:lnTo>
                  <a:pt x="1604992" y="275373"/>
                </a:lnTo>
                <a:lnTo>
                  <a:pt x="1548264" y="223052"/>
                </a:lnTo>
                <a:lnTo>
                  <a:pt x="1488456" y="176239"/>
                </a:lnTo>
                <a:lnTo>
                  <a:pt x="1425911" y="134933"/>
                </a:lnTo>
                <a:lnTo>
                  <a:pt x="1360970" y="99134"/>
                </a:lnTo>
                <a:lnTo>
                  <a:pt x="1293976" y="68843"/>
                </a:lnTo>
                <a:lnTo>
                  <a:pt x="1225271" y="44059"/>
                </a:lnTo>
                <a:lnTo>
                  <a:pt x="1155197" y="24783"/>
                </a:lnTo>
                <a:lnTo>
                  <a:pt x="1084097" y="11014"/>
                </a:lnTo>
                <a:lnTo>
                  <a:pt x="1012312" y="2753"/>
                </a:lnTo>
                <a:lnTo>
                  <a:pt x="940185" y="0"/>
                </a:lnTo>
                <a:close/>
              </a:path>
            </a:pathLst>
          </a:custGeom>
          <a:solidFill>
            <a:schemeClr val="accent5">
              <a:alpha val="56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object 5"/>
          <p:cNvSpPr/>
          <p:nvPr userDrawn="1"/>
        </p:nvSpPr>
        <p:spPr>
          <a:xfrm>
            <a:off x="5442627" y="3131136"/>
            <a:ext cx="347870" cy="347870"/>
          </a:xfrm>
          <a:custGeom>
            <a:avLst/>
            <a:gdLst/>
            <a:ahLst/>
            <a:cxnLst/>
            <a:rect l="l" t="t" r="r" b="b"/>
            <a:pathLst>
              <a:path w="1880363" h="1880368">
                <a:moveTo>
                  <a:pt x="940185" y="0"/>
                </a:moveTo>
                <a:lnTo>
                  <a:pt x="868058" y="2753"/>
                </a:lnTo>
                <a:lnTo>
                  <a:pt x="796273" y="11014"/>
                </a:lnTo>
                <a:lnTo>
                  <a:pt x="725172" y="24783"/>
                </a:lnTo>
                <a:lnTo>
                  <a:pt x="655098" y="44059"/>
                </a:lnTo>
                <a:lnTo>
                  <a:pt x="586392" y="68843"/>
                </a:lnTo>
                <a:lnTo>
                  <a:pt x="519398" y="99134"/>
                </a:lnTo>
                <a:lnTo>
                  <a:pt x="454457" y="134933"/>
                </a:lnTo>
                <a:lnTo>
                  <a:pt x="391911" y="176239"/>
                </a:lnTo>
                <a:lnTo>
                  <a:pt x="332102" y="223052"/>
                </a:lnTo>
                <a:lnTo>
                  <a:pt x="275373" y="275373"/>
                </a:lnTo>
                <a:lnTo>
                  <a:pt x="223052" y="332102"/>
                </a:lnTo>
                <a:lnTo>
                  <a:pt x="176239" y="391910"/>
                </a:lnTo>
                <a:lnTo>
                  <a:pt x="134933" y="454456"/>
                </a:lnTo>
                <a:lnTo>
                  <a:pt x="99134" y="519397"/>
                </a:lnTo>
                <a:lnTo>
                  <a:pt x="68843" y="586391"/>
                </a:lnTo>
                <a:lnTo>
                  <a:pt x="44059" y="655097"/>
                </a:lnTo>
                <a:lnTo>
                  <a:pt x="24783" y="725171"/>
                </a:lnTo>
                <a:lnTo>
                  <a:pt x="11014" y="796271"/>
                </a:lnTo>
                <a:lnTo>
                  <a:pt x="2753" y="868056"/>
                </a:lnTo>
                <a:lnTo>
                  <a:pt x="0" y="940184"/>
                </a:lnTo>
                <a:lnTo>
                  <a:pt x="2753" y="1012311"/>
                </a:lnTo>
                <a:lnTo>
                  <a:pt x="11014" y="1084096"/>
                </a:lnTo>
                <a:lnTo>
                  <a:pt x="24783" y="1155197"/>
                </a:lnTo>
                <a:lnTo>
                  <a:pt x="44059" y="1225271"/>
                </a:lnTo>
                <a:lnTo>
                  <a:pt x="68843" y="1293976"/>
                </a:lnTo>
                <a:lnTo>
                  <a:pt x="99134" y="1360970"/>
                </a:lnTo>
                <a:lnTo>
                  <a:pt x="134933" y="1425911"/>
                </a:lnTo>
                <a:lnTo>
                  <a:pt x="176239" y="1488457"/>
                </a:lnTo>
                <a:lnTo>
                  <a:pt x="223052" y="1548266"/>
                </a:lnTo>
                <a:lnTo>
                  <a:pt x="275373" y="1604994"/>
                </a:lnTo>
                <a:lnTo>
                  <a:pt x="332102" y="1657315"/>
                </a:lnTo>
                <a:lnTo>
                  <a:pt x="391911" y="1704129"/>
                </a:lnTo>
                <a:lnTo>
                  <a:pt x="454457" y="1745435"/>
                </a:lnTo>
                <a:lnTo>
                  <a:pt x="519398" y="1781233"/>
                </a:lnTo>
                <a:lnTo>
                  <a:pt x="586392" y="1811524"/>
                </a:lnTo>
                <a:lnTo>
                  <a:pt x="655098" y="1836308"/>
                </a:lnTo>
                <a:lnTo>
                  <a:pt x="725172" y="1855584"/>
                </a:lnTo>
                <a:lnTo>
                  <a:pt x="796273" y="1869353"/>
                </a:lnTo>
                <a:lnTo>
                  <a:pt x="868058" y="1877614"/>
                </a:lnTo>
                <a:lnTo>
                  <a:pt x="940185" y="1880368"/>
                </a:lnTo>
                <a:lnTo>
                  <a:pt x="1012312" y="1877614"/>
                </a:lnTo>
                <a:lnTo>
                  <a:pt x="1084097" y="1869353"/>
                </a:lnTo>
                <a:lnTo>
                  <a:pt x="1155197" y="1855584"/>
                </a:lnTo>
                <a:lnTo>
                  <a:pt x="1225271" y="1836308"/>
                </a:lnTo>
                <a:lnTo>
                  <a:pt x="1293976" y="1811524"/>
                </a:lnTo>
                <a:lnTo>
                  <a:pt x="1360970" y="1781233"/>
                </a:lnTo>
                <a:lnTo>
                  <a:pt x="1425911" y="1745435"/>
                </a:lnTo>
                <a:lnTo>
                  <a:pt x="1488456" y="1704129"/>
                </a:lnTo>
                <a:lnTo>
                  <a:pt x="1548264" y="1657315"/>
                </a:lnTo>
                <a:lnTo>
                  <a:pt x="1604992" y="1604994"/>
                </a:lnTo>
                <a:lnTo>
                  <a:pt x="1657313" y="1548266"/>
                </a:lnTo>
                <a:lnTo>
                  <a:pt x="1704126" y="1488457"/>
                </a:lnTo>
                <a:lnTo>
                  <a:pt x="1745432" y="1425911"/>
                </a:lnTo>
                <a:lnTo>
                  <a:pt x="1781230" y="1360970"/>
                </a:lnTo>
                <a:lnTo>
                  <a:pt x="1811521" y="1293976"/>
                </a:lnTo>
                <a:lnTo>
                  <a:pt x="1836304" y="1225271"/>
                </a:lnTo>
                <a:lnTo>
                  <a:pt x="1855580" y="1155197"/>
                </a:lnTo>
                <a:lnTo>
                  <a:pt x="1869349" y="1084096"/>
                </a:lnTo>
                <a:lnTo>
                  <a:pt x="1877610" y="1012311"/>
                </a:lnTo>
                <a:lnTo>
                  <a:pt x="1880363" y="940184"/>
                </a:lnTo>
                <a:lnTo>
                  <a:pt x="1877610" y="868056"/>
                </a:lnTo>
                <a:lnTo>
                  <a:pt x="1869349" y="796271"/>
                </a:lnTo>
                <a:lnTo>
                  <a:pt x="1855580" y="725171"/>
                </a:lnTo>
                <a:lnTo>
                  <a:pt x="1836304" y="655097"/>
                </a:lnTo>
                <a:lnTo>
                  <a:pt x="1811521" y="586391"/>
                </a:lnTo>
                <a:lnTo>
                  <a:pt x="1781230" y="519397"/>
                </a:lnTo>
                <a:lnTo>
                  <a:pt x="1745432" y="454456"/>
                </a:lnTo>
                <a:lnTo>
                  <a:pt x="1704126" y="391910"/>
                </a:lnTo>
                <a:lnTo>
                  <a:pt x="1657313" y="332102"/>
                </a:lnTo>
                <a:lnTo>
                  <a:pt x="1604992" y="275373"/>
                </a:lnTo>
                <a:lnTo>
                  <a:pt x="1548264" y="223052"/>
                </a:lnTo>
                <a:lnTo>
                  <a:pt x="1488456" y="176239"/>
                </a:lnTo>
                <a:lnTo>
                  <a:pt x="1425911" y="134933"/>
                </a:lnTo>
                <a:lnTo>
                  <a:pt x="1360970" y="99134"/>
                </a:lnTo>
                <a:lnTo>
                  <a:pt x="1293976" y="68843"/>
                </a:lnTo>
                <a:lnTo>
                  <a:pt x="1225271" y="44059"/>
                </a:lnTo>
                <a:lnTo>
                  <a:pt x="1155197" y="24783"/>
                </a:lnTo>
                <a:lnTo>
                  <a:pt x="1084097" y="11014"/>
                </a:lnTo>
                <a:lnTo>
                  <a:pt x="1012312" y="2753"/>
                </a:lnTo>
                <a:lnTo>
                  <a:pt x="940185" y="0"/>
                </a:lnTo>
                <a:close/>
              </a:path>
            </a:pathLst>
          </a:custGeom>
          <a:solidFill>
            <a:schemeClr val="accent3">
              <a:alpha val="56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object 5"/>
          <p:cNvSpPr/>
          <p:nvPr userDrawn="1"/>
        </p:nvSpPr>
        <p:spPr>
          <a:xfrm>
            <a:off x="6381750" y="2509319"/>
            <a:ext cx="240507" cy="240507"/>
          </a:xfrm>
          <a:custGeom>
            <a:avLst/>
            <a:gdLst/>
            <a:ahLst/>
            <a:cxnLst/>
            <a:rect l="l" t="t" r="r" b="b"/>
            <a:pathLst>
              <a:path w="1880363" h="1880368">
                <a:moveTo>
                  <a:pt x="940185" y="0"/>
                </a:moveTo>
                <a:lnTo>
                  <a:pt x="868058" y="2753"/>
                </a:lnTo>
                <a:lnTo>
                  <a:pt x="796273" y="11014"/>
                </a:lnTo>
                <a:lnTo>
                  <a:pt x="725172" y="24783"/>
                </a:lnTo>
                <a:lnTo>
                  <a:pt x="655098" y="44059"/>
                </a:lnTo>
                <a:lnTo>
                  <a:pt x="586392" y="68843"/>
                </a:lnTo>
                <a:lnTo>
                  <a:pt x="519398" y="99134"/>
                </a:lnTo>
                <a:lnTo>
                  <a:pt x="454457" y="134933"/>
                </a:lnTo>
                <a:lnTo>
                  <a:pt x="391911" y="176239"/>
                </a:lnTo>
                <a:lnTo>
                  <a:pt x="332102" y="223052"/>
                </a:lnTo>
                <a:lnTo>
                  <a:pt x="275373" y="275373"/>
                </a:lnTo>
                <a:lnTo>
                  <a:pt x="223052" y="332102"/>
                </a:lnTo>
                <a:lnTo>
                  <a:pt x="176239" y="391910"/>
                </a:lnTo>
                <a:lnTo>
                  <a:pt x="134933" y="454456"/>
                </a:lnTo>
                <a:lnTo>
                  <a:pt x="99134" y="519397"/>
                </a:lnTo>
                <a:lnTo>
                  <a:pt x="68843" y="586391"/>
                </a:lnTo>
                <a:lnTo>
                  <a:pt x="44059" y="655097"/>
                </a:lnTo>
                <a:lnTo>
                  <a:pt x="24783" y="725171"/>
                </a:lnTo>
                <a:lnTo>
                  <a:pt x="11014" y="796271"/>
                </a:lnTo>
                <a:lnTo>
                  <a:pt x="2753" y="868056"/>
                </a:lnTo>
                <a:lnTo>
                  <a:pt x="0" y="940184"/>
                </a:lnTo>
                <a:lnTo>
                  <a:pt x="2753" y="1012311"/>
                </a:lnTo>
                <a:lnTo>
                  <a:pt x="11014" y="1084096"/>
                </a:lnTo>
                <a:lnTo>
                  <a:pt x="24783" y="1155197"/>
                </a:lnTo>
                <a:lnTo>
                  <a:pt x="44059" y="1225271"/>
                </a:lnTo>
                <a:lnTo>
                  <a:pt x="68843" y="1293976"/>
                </a:lnTo>
                <a:lnTo>
                  <a:pt x="99134" y="1360970"/>
                </a:lnTo>
                <a:lnTo>
                  <a:pt x="134933" y="1425911"/>
                </a:lnTo>
                <a:lnTo>
                  <a:pt x="176239" y="1488457"/>
                </a:lnTo>
                <a:lnTo>
                  <a:pt x="223052" y="1548266"/>
                </a:lnTo>
                <a:lnTo>
                  <a:pt x="275373" y="1604994"/>
                </a:lnTo>
                <a:lnTo>
                  <a:pt x="332102" y="1657315"/>
                </a:lnTo>
                <a:lnTo>
                  <a:pt x="391911" y="1704129"/>
                </a:lnTo>
                <a:lnTo>
                  <a:pt x="454457" y="1745435"/>
                </a:lnTo>
                <a:lnTo>
                  <a:pt x="519398" y="1781233"/>
                </a:lnTo>
                <a:lnTo>
                  <a:pt x="586392" y="1811524"/>
                </a:lnTo>
                <a:lnTo>
                  <a:pt x="655098" y="1836308"/>
                </a:lnTo>
                <a:lnTo>
                  <a:pt x="725172" y="1855584"/>
                </a:lnTo>
                <a:lnTo>
                  <a:pt x="796273" y="1869353"/>
                </a:lnTo>
                <a:lnTo>
                  <a:pt x="868058" y="1877614"/>
                </a:lnTo>
                <a:lnTo>
                  <a:pt x="940185" y="1880368"/>
                </a:lnTo>
                <a:lnTo>
                  <a:pt x="1012312" y="1877614"/>
                </a:lnTo>
                <a:lnTo>
                  <a:pt x="1084097" y="1869353"/>
                </a:lnTo>
                <a:lnTo>
                  <a:pt x="1155197" y="1855584"/>
                </a:lnTo>
                <a:lnTo>
                  <a:pt x="1225271" y="1836308"/>
                </a:lnTo>
                <a:lnTo>
                  <a:pt x="1293976" y="1811524"/>
                </a:lnTo>
                <a:lnTo>
                  <a:pt x="1360970" y="1781233"/>
                </a:lnTo>
                <a:lnTo>
                  <a:pt x="1425911" y="1745435"/>
                </a:lnTo>
                <a:lnTo>
                  <a:pt x="1488456" y="1704129"/>
                </a:lnTo>
                <a:lnTo>
                  <a:pt x="1548264" y="1657315"/>
                </a:lnTo>
                <a:lnTo>
                  <a:pt x="1604992" y="1604994"/>
                </a:lnTo>
                <a:lnTo>
                  <a:pt x="1657313" y="1548266"/>
                </a:lnTo>
                <a:lnTo>
                  <a:pt x="1704126" y="1488457"/>
                </a:lnTo>
                <a:lnTo>
                  <a:pt x="1745432" y="1425911"/>
                </a:lnTo>
                <a:lnTo>
                  <a:pt x="1781230" y="1360970"/>
                </a:lnTo>
                <a:lnTo>
                  <a:pt x="1811521" y="1293976"/>
                </a:lnTo>
                <a:lnTo>
                  <a:pt x="1836304" y="1225271"/>
                </a:lnTo>
                <a:lnTo>
                  <a:pt x="1855580" y="1155197"/>
                </a:lnTo>
                <a:lnTo>
                  <a:pt x="1869349" y="1084096"/>
                </a:lnTo>
                <a:lnTo>
                  <a:pt x="1877610" y="1012311"/>
                </a:lnTo>
                <a:lnTo>
                  <a:pt x="1880363" y="940184"/>
                </a:lnTo>
                <a:lnTo>
                  <a:pt x="1877610" y="868056"/>
                </a:lnTo>
                <a:lnTo>
                  <a:pt x="1869349" y="796271"/>
                </a:lnTo>
                <a:lnTo>
                  <a:pt x="1855580" y="725171"/>
                </a:lnTo>
                <a:lnTo>
                  <a:pt x="1836304" y="655097"/>
                </a:lnTo>
                <a:lnTo>
                  <a:pt x="1811521" y="586391"/>
                </a:lnTo>
                <a:lnTo>
                  <a:pt x="1781230" y="519397"/>
                </a:lnTo>
                <a:lnTo>
                  <a:pt x="1745432" y="454456"/>
                </a:lnTo>
                <a:lnTo>
                  <a:pt x="1704126" y="391910"/>
                </a:lnTo>
                <a:lnTo>
                  <a:pt x="1657313" y="332102"/>
                </a:lnTo>
                <a:lnTo>
                  <a:pt x="1604992" y="275373"/>
                </a:lnTo>
                <a:lnTo>
                  <a:pt x="1548264" y="223052"/>
                </a:lnTo>
                <a:lnTo>
                  <a:pt x="1488456" y="176239"/>
                </a:lnTo>
                <a:lnTo>
                  <a:pt x="1425911" y="134933"/>
                </a:lnTo>
                <a:lnTo>
                  <a:pt x="1360970" y="99134"/>
                </a:lnTo>
                <a:lnTo>
                  <a:pt x="1293976" y="68843"/>
                </a:lnTo>
                <a:lnTo>
                  <a:pt x="1225271" y="44059"/>
                </a:lnTo>
                <a:lnTo>
                  <a:pt x="1155197" y="24783"/>
                </a:lnTo>
                <a:lnTo>
                  <a:pt x="1084097" y="11014"/>
                </a:lnTo>
                <a:lnTo>
                  <a:pt x="1012312" y="2753"/>
                </a:lnTo>
                <a:lnTo>
                  <a:pt x="940185" y="0"/>
                </a:lnTo>
                <a:close/>
              </a:path>
            </a:pathLst>
          </a:custGeom>
          <a:solidFill>
            <a:schemeClr val="tx2">
              <a:alpha val="56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254000" y="1765241"/>
            <a:ext cx="5534025" cy="2817517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3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Section name </a:t>
            </a:r>
            <a:br>
              <a:rPr lang="en-US" dirty="0"/>
            </a:br>
            <a:r>
              <a:rPr lang="en-US" dirty="0"/>
              <a:t>here in</a:t>
            </a:r>
            <a:br>
              <a:rPr lang="en-US" dirty="0"/>
            </a:br>
            <a:r>
              <a:rPr lang="en-US" dirty="0"/>
              <a:t>three lines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81" t="11774" r="9918" b="11902"/>
          <a:stretch/>
        </p:blipFill>
        <p:spPr>
          <a:xfrm>
            <a:off x="222446" y="428217"/>
            <a:ext cx="1052514" cy="842169"/>
          </a:xfrm>
          <a:prstGeom prst="rect">
            <a:avLst/>
          </a:prstGeom>
        </p:spPr>
      </p:pic>
      <p:sp>
        <p:nvSpPr>
          <p:cNvPr id="1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544169" y="508000"/>
            <a:ext cx="647700" cy="673100"/>
          </a:xfrm>
        </p:spPr>
        <p:txBody>
          <a:bodyPr anchor="ctr"/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/>
              <a:t>Place Client / Partner Logo Here</a:t>
            </a:r>
          </a:p>
        </p:txBody>
      </p:sp>
    </p:spTree>
    <p:extLst>
      <p:ext uri="{BB962C8B-B14F-4D97-AF65-F5344CB8AC3E}">
        <p14:creationId xmlns:p14="http://schemas.microsoft.com/office/powerpoint/2010/main" val="2383637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68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982"/>
            <a:ext cx="3520800" cy="51444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2500" y="1619241"/>
            <a:ext cx="2808000" cy="4062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920286"/>
            <a:ext cx="2808000" cy="498598"/>
          </a:xfrm>
        </p:spPr>
        <p:txBody>
          <a:bodyPr anchor="t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165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endParaRPr lang="en-US" sz="40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3557" y="2001031"/>
            <a:ext cx="7215368" cy="2400770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960520" y="1068061"/>
            <a:ext cx="713791" cy="71379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59469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2870100"/>
            <a:ext cx="8202600" cy="1530900"/>
          </a:xfrm>
        </p:spPr>
        <p:txBody>
          <a:bodyPr anchor="t">
            <a:noAutofit/>
          </a:bodyPr>
          <a:lstStyle>
            <a:lvl1pPr>
              <a:defRPr sz="405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72501" y="2760012"/>
            <a:ext cx="8668940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45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514350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3059631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3" name="Group 12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8" name="Straight Connector 17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6" name="Straight Connector 17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676975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51435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5378967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4707397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3" name="Group 12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723205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771935" y="0"/>
            <a:ext cx="312713" cy="51435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6775704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6076188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4" name="Group 13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669185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60573" y="-982"/>
            <a:ext cx="6083428" cy="5144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3" name="Group 12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9" name="Straight Connector 17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523358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51435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51435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339200"/>
            <a:ext cx="3291300" cy="24651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60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20" name="Group 19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0" name="Straight Connector 17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8" name="Straight Connector 17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6" name="Straight Connector 17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674020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51435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5864658" y="0"/>
            <a:ext cx="3279343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51435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3202" y="1339200"/>
            <a:ext cx="4685664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60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9" name="Group 18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9" name="Straight Connector 17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827669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4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143" y="983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9331" y="2692799"/>
            <a:ext cx="1023938" cy="253722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15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7" name="Group 16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9" name="Straight Connector 17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394701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er with Client/Partner logo &amp; Optional B/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2657347" y="0"/>
            <a:ext cx="6489051" cy="470001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icon to add black &amp; white imag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81" t="11774" r="9918" b="11902"/>
          <a:stretch/>
        </p:blipFill>
        <p:spPr>
          <a:xfrm>
            <a:off x="222446" y="428217"/>
            <a:ext cx="1052514" cy="842169"/>
          </a:xfrm>
          <a:prstGeom prst="rect">
            <a:avLst/>
          </a:prstGeom>
        </p:spPr>
      </p:pic>
      <p:sp>
        <p:nvSpPr>
          <p:cNvPr id="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544169" y="508000"/>
            <a:ext cx="647700" cy="673100"/>
          </a:xfrm>
        </p:spPr>
        <p:txBody>
          <a:bodyPr anchor="ctr"/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/>
              <a:t>Place Client / Partner Logo Her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254000" y="1765241"/>
            <a:ext cx="5534025" cy="2817517"/>
          </a:xfrm>
          <a:prstGeom prst="rect">
            <a:avLst/>
          </a:prstGeom>
          <a:noFill/>
        </p:spPr>
        <p:txBody>
          <a:bodyPr wrap="square" lIns="0" rtlCol="0" anchor="t" anchorCtr="0">
            <a:noAutofit/>
          </a:bodyPr>
          <a:lstStyle>
            <a:lvl1pPr marL="0" algn="l">
              <a:lnSpc>
                <a:spcPct val="98000"/>
              </a:lnSpc>
              <a:tabLst>
                <a:tab pos="457200" algn="l"/>
              </a:tabLst>
              <a:defRPr lang="en-US" sz="3600" u="sng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l"/>
            <a:r>
              <a:rPr lang="en-US" dirty="0"/>
              <a:t>Section name </a:t>
            </a:r>
            <a:br>
              <a:rPr lang="en-US" dirty="0"/>
            </a:br>
            <a:r>
              <a:rPr lang="en-US" dirty="0"/>
              <a:t>here in</a:t>
            </a:r>
            <a:br>
              <a:rPr lang="en-US" dirty="0"/>
            </a:br>
            <a:r>
              <a:rPr lang="en-US" dirty="0"/>
              <a:t>three lines</a:t>
            </a:r>
          </a:p>
        </p:txBody>
      </p:sp>
    </p:spTree>
    <p:extLst>
      <p:ext uri="{BB962C8B-B14F-4D97-AF65-F5344CB8AC3E}">
        <p14:creationId xmlns:p14="http://schemas.microsoft.com/office/powerpoint/2010/main" val="668802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8">
          <p15:clr>
            <a:srgbClr val="FBAE40"/>
          </p15:clr>
        </p15:guide>
        <p15:guide id="2" orient="horz" pos="1620">
          <p15:clr>
            <a:srgbClr val="FBAE40"/>
          </p15:clr>
        </p15:guide>
        <p15:guide id="3" orient="horz" pos="2969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143" y="983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30981" y="2552121"/>
            <a:ext cx="2021000" cy="2596309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grpSp>
        <p:nvGrpSpPr>
          <p:cNvPr id="12" name="Group 11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3" name="Group 12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768188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6144" y="2545795"/>
            <a:ext cx="973931" cy="2678906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5" name="Group 14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8" name="Straight Connector 17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6" name="Straight Connector 17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596253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83544" y="2562225"/>
            <a:ext cx="2021000" cy="2581275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grpSp>
        <p:nvGrpSpPr>
          <p:cNvPr id="11" name="Group 10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2" name="Group 11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8" name="Straight Connector 17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6" name="Straight Connector 17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990599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3560867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354" y="2692204"/>
            <a:ext cx="1023938" cy="253722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5" name="Group 14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225276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3560867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45129" y="2555853"/>
            <a:ext cx="2021000" cy="2592413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grpSp>
        <p:nvGrpSpPr>
          <p:cNvPr id="13" name="Group 12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6" name="Group 15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259508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023623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4690872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7" name="Group 16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456151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4690872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925721" y="2555853"/>
            <a:ext cx="2021000" cy="2592413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grpSp>
        <p:nvGrpSpPr>
          <p:cNvPr id="11" name="Group 10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3" name="Group 12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213936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endParaRPr lang="en-US" sz="40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4" name="Group 13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255824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endParaRPr lang="en-US" sz="40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2500" y="469106"/>
            <a:ext cx="699516" cy="69951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42918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98096" y="76083"/>
            <a:ext cx="576943" cy="7514866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4400501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 dirty="0">
              <a:solidFill>
                <a:srgbClr val="000000"/>
              </a:solidFill>
              <a:sym typeface="+mn-lt"/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0" name="Group 9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11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848037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Breaker without image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object 4"/>
          <p:cNvSpPr/>
          <p:nvPr/>
        </p:nvSpPr>
        <p:spPr>
          <a:xfrm>
            <a:off x="-114300" y="-25400"/>
            <a:ext cx="4671298" cy="4076763"/>
          </a:xfrm>
          <a:custGeom>
            <a:avLst/>
            <a:gdLst/>
            <a:ahLst/>
            <a:cxnLst/>
            <a:rect l="l" t="t" r="r" b="b"/>
            <a:pathLst>
              <a:path w="10193348" h="8895999">
                <a:moveTo>
                  <a:pt x="8488661" y="0"/>
                </a:moveTo>
                <a:lnTo>
                  <a:pt x="1704683" y="0"/>
                </a:lnTo>
                <a:lnTo>
                  <a:pt x="1492780" y="195439"/>
                </a:lnTo>
                <a:lnTo>
                  <a:pt x="1209152" y="502960"/>
                </a:lnTo>
                <a:lnTo>
                  <a:pt x="955379" y="827176"/>
                </a:lnTo>
                <a:lnTo>
                  <a:pt x="731462" y="1166233"/>
                </a:lnTo>
                <a:lnTo>
                  <a:pt x="537401" y="1518274"/>
                </a:lnTo>
                <a:lnTo>
                  <a:pt x="373195" y="1881445"/>
                </a:lnTo>
                <a:lnTo>
                  <a:pt x="238844" y="2253892"/>
                </a:lnTo>
                <a:lnTo>
                  <a:pt x="134350" y="2633758"/>
                </a:lnTo>
                <a:lnTo>
                  <a:pt x="59711" y="3019189"/>
                </a:lnTo>
                <a:lnTo>
                  <a:pt x="14927" y="3408331"/>
                </a:lnTo>
                <a:lnTo>
                  <a:pt x="0" y="3799327"/>
                </a:lnTo>
                <a:lnTo>
                  <a:pt x="14927" y="4190324"/>
                </a:lnTo>
                <a:lnTo>
                  <a:pt x="59711" y="4579465"/>
                </a:lnTo>
                <a:lnTo>
                  <a:pt x="134350" y="4964896"/>
                </a:lnTo>
                <a:lnTo>
                  <a:pt x="238844" y="5344763"/>
                </a:lnTo>
                <a:lnTo>
                  <a:pt x="373195" y="5717209"/>
                </a:lnTo>
                <a:lnTo>
                  <a:pt x="537401" y="6080381"/>
                </a:lnTo>
                <a:lnTo>
                  <a:pt x="731462" y="6432423"/>
                </a:lnTo>
                <a:lnTo>
                  <a:pt x="955379" y="6771479"/>
                </a:lnTo>
                <a:lnTo>
                  <a:pt x="1209152" y="7095696"/>
                </a:lnTo>
                <a:lnTo>
                  <a:pt x="1492780" y="7403218"/>
                </a:lnTo>
                <a:lnTo>
                  <a:pt x="1800302" y="7686847"/>
                </a:lnTo>
                <a:lnTo>
                  <a:pt x="2124519" y="7940619"/>
                </a:lnTo>
                <a:lnTo>
                  <a:pt x="2463576" y="8164537"/>
                </a:lnTo>
                <a:lnTo>
                  <a:pt x="2815618" y="8358598"/>
                </a:lnTo>
                <a:lnTo>
                  <a:pt x="3178790" y="8522804"/>
                </a:lnTo>
                <a:lnTo>
                  <a:pt x="3551236" y="8657154"/>
                </a:lnTo>
                <a:lnTo>
                  <a:pt x="3931103" y="8761649"/>
                </a:lnTo>
                <a:lnTo>
                  <a:pt x="4316535" y="8836288"/>
                </a:lnTo>
                <a:lnTo>
                  <a:pt x="4705676" y="8881071"/>
                </a:lnTo>
                <a:lnTo>
                  <a:pt x="5096673" y="8895999"/>
                </a:lnTo>
                <a:lnTo>
                  <a:pt x="5487669" y="8881071"/>
                </a:lnTo>
                <a:lnTo>
                  <a:pt x="5876811" y="8836288"/>
                </a:lnTo>
                <a:lnTo>
                  <a:pt x="6262242" y="8761649"/>
                </a:lnTo>
                <a:lnTo>
                  <a:pt x="6642109" y="8657154"/>
                </a:lnTo>
                <a:lnTo>
                  <a:pt x="7014555" y="8522804"/>
                </a:lnTo>
                <a:lnTo>
                  <a:pt x="7377727" y="8358598"/>
                </a:lnTo>
                <a:lnTo>
                  <a:pt x="7729769" y="8164537"/>
                </a:lnTo>
                <a:lnTo>
                  <a:pt x="8068825" y="7940619"/>
                </a:lnTo>
                <a:lnTo>
                  <a:pt x="8393042" y="7686847"/>
                </a:lnTo>
                <a:lnTo>
                  <a:pt x="8700564" y="7403218"/>
                </a:lnTo>
                <a:lnTo>
                  <a:pt x="8984193" y="7095696"/>
                </a:lnTo>
                <a:lnTo>
                  <a:pt x="9237966" y="6771479"/>
                </a:lnTo>
                <a:lnTo>
                  <a:pt x="9461884" y="6432423"/>
                </a:lnTo>
                <a:lnTo>
                  <a:pt x="9655946" y="6080381"/>
                </a:lnTo>
                <a:lnTo>
                  <a:pt x="9820152" y="5717209"/>
                </a:lnTo>
                <a:lnTo>
                  <a:pt x="9954502" y="5344763"/>
                </a:lnTo>
                <a:lnTo>
                  <a:pt x="10058997" y="4964896"/>
                </a:lnTo>
                <a:lnTo>
                  <a:pt x="10133636" y="4579465"/>
                </a:lnTo>
                <a:lnTo>
                  <a:pt x="10178420" y="4190324"/>
                </a:lnTo>
                <a:lnTo>
                  <a:pt x="10193348" y="3799327"/>
                </a:lnTo>
                <a:lnTo>
                  <a:pt x="10178420" y="3408331"/>
                </a:lnTo>
                <a:lnTo>
                  <a:pt x="10133636" y="3019189"/>
                </a:lnTo>
                <a:lnTo>
                  <a:pt x="10058997" y="2633758"/>
                </a:lnTo>
                <a:lnTo>
                  <a:pt x="9954502" y="2253892"/>
                </a:lnTo>
                <a:lnTo>
                  <a:pt x="9820152" y="1881445"/>
                </a:lnTo>
                <a:lnTo>
                  <a:pt x="9655946" y="1518274"/>
                </a:lnTo>
                <a:lnTo>
                  <a:pt x="9461884" y="1166233"/>
                </a:lnTo>
                <a:lnTo>
                  <a:pt x="9237966" y="827176"/>
                </a:lnTo>
                <a:lnTo>
                  <a:pt x="8984193" y="502960"/>
                </a:lnTo>
                <a:lnTo>
                  <a:pt x="8700564" y="195439"/>
                </a:lnTo>
                <a:lnTo>
                  <a:pt x="8488661" y="0"/>
                </a:lnTo>
                <a:close/>
              </a:path>
            </a:pathLst>
          </a:custGeom>
          <a:solidFill>
            <a:srgbClr val="FFDB28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+mn-lt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713836" y="914400"/>
            <a:ext cx="6946900" cy="12192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3600" spc="-55" dirty="0">
                <a:solidFill>
                  <a:srgbClr val="0D35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5394"/>
            <a:r>
              <a:rPr lang="en-US" sz="3600" b="1" u="sng" spc="-55" dirty="0">
                <a:solidFill>
                  <a:srgbClr val="0D356E"/>
                </a:solidFill>
                <a:latin typeface="+mn-lt"/>
                <a:cs typeface="Arial"/>
              </a:rPr>
              <a:t>Headline placeholder</a:t>
            </a:r>
            <a:br>
              <a:rPr lang="en-US" sz="3600" b="1" u="sng" spc="-55" dirty="0">
                <a:solidFill>
                  <a:srgbClr val="0D356E"/>
                </a:solidFill>
                <a:latin typeface="+mn-lt"/>
                <a:cs typeface="Arial"/>
              </a:rPr>
            </a:br>
            <a:r>
              <a:rPr lang="en-US" sz="3600" b="1" u="sng" spc="-36" dirty="0">
                <a:solidFill>
                  <a:srgbClr val="0D356E"/>
                </a:solidFill>
                <a:latin typeface="+mn-lt"/>
                <a:cs typeface="Arial"/>
              </a:rPr>
              <a:t>i</a:t>
            </a:r>
            <a:r>
              <a:rPr lang="en-US" sz="3600" b="1" u="sng" spc="-67" dirty="0">
                <a:solidFill>
                  <a:srgbClr val="0D356E"/>
                </a:solidFill>
                <a:latin typeface="+mn-lt"/>
                <a:cs typeface="Arial"/>
              </a:rPr>
              <a:t>n</a:t>
            </a:r>
            <a:r>
              <a:rPr lang="en-US" sz="3600" b="1" u="sng" spc="-6" dirty="0">
                <a:solidFill>
                  <a:srgbClr val="0D356E"/>
                </a:solidFill>
                <a:latin typeface="+mn-lt"/>
                <a:cs typeface="Arial"/>
              </a:rPr>
              <a:t> t</a:t>
            </a:r>
            <a:r>
              <a:rPr lang="en-US" sz="3600" b="1" u="sng" spc="-85" dirty="0">
                <a:solidFill>
                  <a:srgbClr val="0D356E"/>
                </a:solidFill>
                <a:latin typeface="+mn-lt"/>
                <a:cs typeface="Arial"/>
              </a:rPr>
              <a:t>w</a:t>
            </a:r>
            <a:r>
              <a:rPr lang="en-US" sz="3600" b="1" u="sng" spc="-67" dirty="0">
                <a:solidFill>
                  <a:srgbClr val="0D356E"/>
                </a:solidFill>
                <a:latin typeface="+mn-lt"/>
                <a:cs typeface="Arial"/>
              </a:rPr>
              <a:t>o</a:t>
            </a:r>
            <a:r>
              <a:rPr lang="en-US" sz="3600" b="1" u="sng" spc="-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3600" b="1" u="sng" spc="-36" dirty="0">
                <a:solidFill>
                  <a:srgbClr val="0D356E"/>
                </a:solidFill>
                <a:latin typeface="+mn-lt"/>
                <a:cs typeface="Arial"/>
              </a:rPr>
              <a:t>li</a:t>
            </a:r>
            <a:r>
              <a:rPr lang="en-US" sz="3600" b="1" u="sng" spc="-73" dirty="0">
                <a:solidFill>
                  <a:srgbClr val="0D356E"/>
                </a:solidFill>
                <a:latin typeface="+mn-lt"/>
                <a:cs typeface="Arial"/>
              </a:rPr>
              <a:t>n</a:t>
            </a:r>
            <a:r>
              <a:rPr lang="en-US" sz="3600" b="1" u="sng" spc="-61" dirty="0">
                <a:solidFill>
                  <a:srgbClr val="0D356E"/>
                </a:solidFill>
                <a:latin typeface="+mn-lt"/>
                <a:cs typeface="Arial"/>
              </a:rPr>
              <a:t>es</a:t>
            </a:r>
            <a:endParaRPr lang="en-US" sz="3600" u="sng" dirty="0">
              <a:latin typeface="+mn-lt"/>
              <a:cs typeface="Arial"/>
            </a:endParaRPr>
          </a:p>
        </p:txBody>
      </p: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7457" y="3844395"/>
            <a:ext cx="1314000" cy="1103406"/>
          </a:xfrm>
          <a:prstGeom prst="rect">
            <a:avLst/>
          </a:prstGeom>
        </p:spPr>
      </p:pic>
      <p:grpSp>
        <p:nvGrpSpPr>
          <p:cNvPr id="2" name="Group 1"/>
          <p:cNvGrpSpPr/>
          <p:nvPr userDrawn="1"/>
        </p:nvGrpSpPr>
        <p:grpSpPr>
          <a:xfrm>
            <a:off x="4484252" y="2897813"/>
            <a:ext cx="3118452" cy="641536"/>
            <a:chOff x="4484252" y="2897813"/>
            <a:chExt cx="3118452" cy="641536"/>
          </a:xfrm>
        </p:grpSpPr>
        <p:sp>
          <p:nvSpPr>
            <p:cNvPr id="38" name="object 8"/>
            <p:cNvSpPr/>
            <p:nvPr userDrawn="1"/>
          </p:nvSpPr>
          <p:spPr>
            <a:xfrm>
              <a:off x="6962624" y="2898541"/>
              <a:ext cx="640080" cy="640080"/>
            </a:xfrm>
            <a:custGeom>
              <a:avLst/>
              <a:gdLst/>
              <a:ahLst/>
              <a:cxnLst/>
              <a:rect l="l" t="t" r="r" b="b"/>
              <a:pathLst>
                <a:path w="4127753" h="4127749">
                  <a:moveTo>
                    <a:pt x="2063876" y="0"/>
                  </a:moveTo>
                  <a:lnTo>
                    <a:pt x="1905544" y="6044"/>
                  </a:lnTo>
                  <a:lnTo>
                    <a:pt x="1747964" y="24179"/>
                  </a:lnTo>
                  <a:lnTo>
                    <a:pt x="1591885" y="54404"/>
                  </a:lnTo>
                  <a:lnTo>
                    <a:pt x="1438060" y="96719"/>
                  </a:lnTo>
                  <a:lnTo>
                    <a:pt x="1287239" y="151123"/>
                  </a:lnTo>
                  <a:lnTo>
                    <a:pt x="1140175" y="217618"/>
                  </a:lnTo>
                  <a:lnTo>
                    <a:pt x="997617" y="296202"/>
                  </a:lnTo>
                  <a:lnTo>
                    <a:pt x="860317" y="386876"/>
                  </a:lnTo>
                  <a:lnTo>
                    <a:pt x="729027" y="489640"/>
                  </a:lnTo>
                  <a:lnTo>
                    <a:pt x="604497" y="604494"/>
                  </a:lnTo>
                  <a:lnTo>
                    <a:pt x="489642" y="729024"/>
                  </a:lnTo>
                  <a:lnTo>
                    <a:pt x="386878" y="860314"/>
                  </a:lnTo>
                  <a:lnTo>
                    <a:pt x="296203" y="997614"/>
                  </a:lnTo>
                  <a:lnTo>
                    <a:pt x="217619" y="1140171"/>
                  </a:lnTo>
                  <a:lnTo>
                    <a:pt x="151124" y="1287236"/>
                  </a:lnTo>
                  <a:lnTo>
                    <a:pt x="96719" y="1438057"/>
                  </a:lnTo>
                  <a:lnTo>
                    <a:pt x="54404" y="1591882"/>
                  </a:lnTo>
                  <a:lnTo>
                    <a:pt x="24179" y="1747961"/>
                  </a:lnTo>
                  <a:lnTo>
                    <a:pt x="6044" y="1905542"/>
                  </a:lnTo>
                  <a:lnTo>
                    <a:pt x="0" y="2063874"/>
                  </a:lnTo>
                  <a:lnTo>
                    <a:pt x="6044" y="2222206"/>
                  </a:lnTo>
                  <a:lnTo>
                    <a:pt x="24179" y="2379787"/>
                  </a:lnTo>
                  <a:lnTo>
                    <a:pt x="54404" y="2535866"/>
                  </a:lnTo>
                  <a:lnTo>
                    <a:pt x="96719" y="2689691"/>
                  </a:lnTo>
                  <a:lnTo>
                    <a:pt x="151124" y="2840512"/>
                  </a:lnTo>
                  <a:lnTo>
                    <a:pt x="217619" y="2987577"/>
                  </a:lnTo>
                  <a:lnTo>
                    <a:pt x="296203" y="3130134"/>
                  </a:lnTo>
                  <a:lnTo>
                    <a:pt x="386878" y="3267434"/>
                  </a:lnTo>
                  <a:lnTo>
                    <a:pt x="489642" y="3398724"/>
                  </a:lnTo>
                  <a:lnTo>
                    <a:pt x="604497" y="3523254"/>
                  </a:lnTo>
                  <a:lnTo>
                    <a:pt x="729027" y="3638108"/>
                  </a:lnTo>
                  <a:lnTo>
                    <a:pt x="860317" y="3740872"/>
                  </a:lnTo>
                  <a:lnTo>
                    <a:pt x="997617" y="3831546"/>
                  </a:lnTo>
                  <a:lnTo>
                    <a:pt x="1140175" y="3910131"/>
                  </a:lnTo>
                  <a:lnTo>
                    <a:pt x="1287239" y="3976625"/>
                  </a:lnTo>
                  <a:lnTo>
                    <a:pt x="1438060" y="4031029"/>
                  </a:lnTo>
                  <a:lnTo>
                    <a:pt x="1591885" y="4073344"/>
                  </a:lnTo>
                  <a:lnTo>
                    <a:pt x="1747964" y="4103569"/>
                  </a:lnTo>
                  <a:lnTo>
                    <a:pt x="1905544" y="4121704"/>
                  </a:lnTo>
                  <a:lnTo>
                    <a:pt x="2063876" y="4127749"/>
                  </a:lnTo>
                  <a:lnTo>
                    <a:pt x="2222208" y="4121704"/>
                  </a:lnTo>
                  <a:lnTo>
                    <a:pt x="2379789" y="4103569"/>
                  </a:lnTo>
                  <a:lnTo>
                    <a:pt x="2535868" y="4073344"/>
                  </a:lnTo>
                  <a:lnTo>
                    <a:pt x="2689693" y="4031029"/>
                  </a:lnTo>
                  <a:lnTo>
                    <a:pt x="2840513" y="3976625"/>
                  </a:lnTo>
                  <a:lnTo>
                    <a:pt x="2987578" y="3910131"/>
                  </a:lnTo>
                  <a:lnTo>
                    <a:pt x="3130136" y="3831546"/>
                  </a:lnTo>
                  <a:lnTo>
                    <a:pt x="3267436" y="3740872"/>
                  </a:lnTo>
                  <a:lnTo>
                    <a:pt x="3398726" y="3638108"/>
                  </a:lnTo>
                  <a:lnTo>
                    <a:pt x="3523256" y="3523254"/>
                  </a:lnTo>
                  <a:lnTo>
                    <a:pt x="3638111" y="3398724"/>
                  </a:lnTo>
                  <a:lnTo>
                    <a:pt x="3740875" y="3267434"/>
                  </a:lnTo>
                  <a:lnTo>
                    <a:pt x="3831550" y="3130134"/>
                  </a:lnTo>
                  <a:lnTo>
                    <a:pt x="3910134" y="2987577"/>
                  </a:lnTo>
                  <a:lnTo>
                    <a:pt x="3976629" y="2840512"/>
                  </a:lnTo>
                  <a:lnTo>
                    <a:pt x="4031034" y="2689691"/>
                  </a:lnTo>
                  <a:lnTo>
                    <a:pt x="4073349" y="2535866"/>
                  </a:lnTo>
                  <a:lnTo>
                    <a:pt x="4103574" y="2379787"/>
                  </a:lnTo>
                  <a:lnTo>
                    <a:pt x="4121708" y="2222206"/>
                  </a:lnTo>
                  <a:lnTo>
                    <a:pt x="4127753" y="2063874"/>
                  </a:lnTo>
                  <a:lnTo>
                    <a:pt x="4121708" y="1905542"/>
                  </a:lnTo>
                  <a:lnTo>
                    <a:pt x="4103574" y="1747961"/>
                  </a:lnTo>
                  <a:lnTo>
                    <a:pt x="4073349" y="1591882"/>
                  </a:lnTo>
                  <a:lnTo>
                    <a:pt x="4031034" y="1438057"/>
                  </a:lnTo>
                  <a:lnTo>
                    <a:pt x="3976629" y="1287236"/>
                  </a:lnTo>
                  <a:lnTo>
                    <a:pt x="3910134" y="1140171"/>
                  </a:lnTo>
                  <a:lnTo>
                    <a:pt x="3831550" y="997614"/>
                  </a:lnTo>
                  <a:lnTo>
                    <a:pt x="3740875" y="860314"/>
                  </a:lnTo>
                  <a:lnTo>
                    <a:pt x="3638111" y="729024"/>
                  </a:lnTo>
                  <a:lnTo>
                    <a:pt x="3523256" y="604494"/>
                  </a:lnTo>
                  <a:lnTo>
                    <a:pt x="3398726" y="489640"/>
                  </a:lnTo>
                  <a:lnTo>
                    <a:pt x="3267436" y="386876"/>
                  </a:lnTo>
                  <a:lnTo>
                    <a:pt x="3130136" y="296202"/>
                  </a:lnTo>
                  <a:lnTo>
                    <a:pt x="2987578" y="217618"/>
                  </a:lnTo>
                  <a:lnTo>
                    <a:pt x="2840513" y="151123"/>
                  </a:lnTo>
                  <a:lnTo>
                    <a:pt x="2689693" y="96719"/>
                  </a:lnTo>
                  <a:lnTo>
                    <a:pt x="2535868" y="54404"/>
                  </a:lnTo>
                  <a:lnTo>
                    <a:pt x="2379789" y="24179"/>
                  </a:lnTo>
                  <a:lnTo>
                    <a:pt x="2222208" y="6044"/>
                  </a:lnTo>
                  <a:lnTo>
                    <a:pt x="2063876" y="0"/>
                  </a:lnTo>
                  <a:close/>
                </a:path>
              </a:pathLst>
            </a:custGeom>
            <a:solidFill>
              <a:schemeClr val="accent5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 dirty="0">
                <a:latin typeface="+mn-lt"/>
              </a:endParaRPr>
            </a:p>
          </p:txBody>
        </p:sp>
        <p:sp>
          <p:nvSpPr>
            <p:cNvPr id="39" name="object 10"/>
            <p:cNvSpPr/>
            <p:nvPr userDrawn="1"/>
          </p:nvSpPr>
          <p:spPr>
            <a:xfrm>
              <a:off x="5312263" y="2899917"/>
              <a:ext cx="637328" cy="637328"/>
            </a:xfrm>
            <a:custGeom>
              <a:avLst/>
              <a:gdLst/>
              <a:ahLst/>
              <a:cxnLst/>
              <a:rect l="l" t="t" r="r" b="b"/>
              <a:pathLst>
                <a:path w="1390729" h="1390729">
                  <a:moveTo>
                    <a:pt x="695364" y="0"/>
                  </a:moveTo>
                  <a:lnTo>
                    <a:pt x="642019" y="2036"/>
                  </a:lnTo>
                  <a:lnTo>
                    <a:pt x="588926" y="8146"/>
                  </a:lnTo>
                  <a:lnTo>
                    <a:pt x="536340" y="18330"/>
                  </a:lnTo>
                  <a:lnTo>
                    <a:pt x="484512" y="32586"/>
                  </a:lnTo>
                  <a:lnTo>
                    <a:pt x="433697" y="50916"/>
                  </a:lnTo>
                  <a:lnTo>
                    <a:pt x="384147" y="73320"/>
                  </a:lnTo>
                  <a:lnTo>
                    <a:pt x="336116" y="99796"/>
                  </a:lnTo>
                  <a:lnTo>
                    <a:pt x="289856" y="130346"/>
                  </a:lnTo>
                  <a:lnTo>
                    <a:pt x="245621" y="164970"/>
                  </a:lnTo>
                  <a:lnTo>
                    <a:pt x="203663" y="203667"/>
                  </a:lnTo>
                  <a:lnTo>
                    <a:pt x="164967" y="245623"/>
                  </a:lnTo>
                  <a:lnTo>
                    <a:pt x="130344" y="289858"/>
                  </a:lnTo>
                  <a:lnTo>
                    <a:pt x="99795" y="336117"/>
                  </a:lnTo>
                  <a:lnTo>
                    <a:pt x="73319" y="384148"/>
                  </a:lnTo>
                  <a:lnTo>
                    <a:pt x="50915" y="433698"/>
                  </a:lnTo>
                  <a:lnTo>
                    <a:pt x="32586" y="484512"/>
                  </a:lnTo>
                  <a:lnTo>
                    <a:pt x="18329" y="536339"/>
                  </a:lnTo>
                  <a:lnTo>
                    <a:pt x="8146" y="588926"/>
                  </a:lnTo>
                  <a:lnTo>
                    <a:pt x="2036" y="642018"/>
                  </a:lnTo>
                  <a:lnTo>
                    <a:pt x="0" y="695364"/>
                  </a:lnTo>
                  <a:lnTo>
                    <a:pt x="2036" y="748710"/>
                  </a:lnTo>
                  <a:lnTo>
                    <a:pt x="8146" y="801802"/>
                  </a:lnTo>
                  <a:lnTo>
                    <a:pt x="18329" y="854389"/>
                  </a:lnTo>
                  <a:lnTo>
                    <a:pt x="32586" y="906216"/>
                  </a:lnTo>
                  <a:lnTo>
                    <a:pt x="50915" y="957030"/>
                  </a:lnTo>
                  <a:lnTo>
                    <a:pt x="73319" y="1006580"/>
                  </a:lnTo>
                  <a:lnTo>
                    <a:pt x="99795" y="1054610"/>
                  </a:lnTo>
                  <a:lnTo>
                    <a:pt x="130344" y="1100870"/>
                  </a:lnTo>
                  <a:lnTo>
                    <a:pt x="164967" y="1145104"/>
                  </a:lnTo>
                  <a:lnTo>
                    <a:pt x="203663" y="1187061"/>
                  </a:lnTo>
                  <a:lnTo>
                    <a:pt x="245621" y="1225758"/>
                  </a:lnTo>
                  <a:lnTo>
                    <a:pt x="289856" y="1260381"/>
                  </a:lnTo>
                  <a:lnTo>
                    <a:pt x="336116" y="1290931"/>
                  </a:lnTo>
                  <a:lnTo>
                    <a:pt x="384147" y="1317408"/>
                  </a:lnTo>
                  <a:lnTo>
                    <a:pt x="433697" y="1339812"/>
                  </a:lnTo>
                  <a:lnTo>
                    <a:pt x="484512" y="1358142"/>
                  </a:lnTo>
                  <a:lnTo>
                    <a:pt x="536340" y="1372399"/>
                  </a:lnTo>
                  <a:lnTo>
                    <a:pt x="588926" y="1382582"/>
                  </a:lnTo>
                  <a:lnTo>
                    <a:pt x="642019" y="1388692"/>
                  </a:lnTo>
                  <a:lnTo>
                    <a:pt x="695364" y="1390729"/>
                  </a:lnTo>
                  <a:lnTo>
                    <a:pt x="748710" y="1388692"/>
                  </a:lnTo>
                  <a:lnTo>
                    <a:pt x="801802" y="1382582"/>
                  </a:lnTo>
                  <a:lnTo>
                    <a:pt x="854389" y="1372399"/>
                  </a:lnTo>
                  <a:lnTo>
                    <a:pt x="906215" y="1358142"/>
                  </a:lnTo>
                  <a:lnTo>
                    <a:pt x="957030" y="1339812"/>
                  </a:lnTo>
                  <a:lnTo>
                    <a:pt x="1006579" y="1317408"/>
                  </a:lnTo>
                  <a:lnTo>
                    <a:pt x="1054609" y="1290931"/>
                  </a:lnTo>
                  <a:lnTo>
                    <a:pt x="1100868" y="1260381"/>
                  </a:lnTo>
                  <a:lnTo>
                    <a:pt x="1145102" y="1225758"/>
                  </a:lnTo>
                  <a:lnTo>
                    <a:pt x="1187058" y="1187061"/>
                  </a:lnTo>
                  <a:lnTo>
                    <a:pt x="1225755" y="1145104"/>
                  </a:lnTo>
                  <a:lnTo>
                    <a:pt x="1260379" y="1100870"/>
                  </a:lnTo>
                  <a:lnTo>
                    <a:pt x="1290930" y="1054610"/>
                  </a:lnTo>
                  <a:lnTo>
                    <a:pt x="1317408" y="1006580"/>
                  </a:lnTo>
                  <a:lnTo>
                    <a:pt x="1339811" y="957030"/>
                  </a:lnTo>
                  <a:lnTo>
                    <a:pt x="1358142" y="906216"/>
                  </a:lnTo>
                  <a:lnTo>
                    <a:pt x="1372399" y="854389"/>
                  </a:lnTo>
                  <a:lnTo>
                    <a:pt x="1382583" y="801802"/>
                  </a:lnTo>
                  <a:lnTo>
                    <a:pt x="1388693" y="748710"/>
                  </a:lnTo>
                  <a:lnTo>
                    <a:pt x="1390729" y="695364"/>
                  </a:lnTo>
                  <a:lnTo>
                    <a:pt x="1388693" y="642018"/>
                  </a:lnTo>
                  <a:lnTo>
                    <a:pt x="1382583" y="588926"/>
                  </a:lnTo>
                  <a:lnTo>
                    <a:pt x="1372399" y="536339"/>
                  </a:lnTo>
                  <a:lnTo>
                    <a:pt x="1358142" y="484512"/>
                  </a:lnTo>
                  <a:lnTo>
                    <a:pt x="1339811" y="433698"/>
                  </a:lnTo>
                  <a:lnTo>
                    <a:pt x="1317408" y="384148"/>
                  </a:lnTo>
                  <a:lnTo>
                    <a:pt x="1290930" y="336117"/>
                  </a:lnTo>
                  <a:lnTo>
                    <a:pt x="1260379" y="289858"/>
                  </a:lnTo>
                  <a:lnTo>
                    <a:pt x="1225755" y="245623"/>
                  </a:lnTo>
                  <a:lnTo>
                    <a:pt x="1187058" y="203667"/>
                  </a:lnTo>
                  <a:lnTo>
                    <a:pt x="1145102" y="164970"/>
                  </a:lnTo>
                  <a:lnTo>
                    <a:pt x="1100868" y="130346"/>
                  </a:lnTo>
                  <a:lnTo>
                    <a:pt x="1054609" y="99796"/>
                  </a:lnTo>
                  <a:lnTo>
                    <a:pt x="1006579" y="73320"/>
                  </a:lnTo>
                  <a:lnTo>
                    <a:pt x="957030" y="50916"/>
                  </a:lnTo>
                  <a:lnTo>
                    <a:pt x="906215" y="32586"/>
                  </a:lnTo>
                  <a:lnTo>
                    <a:pt x="854389" y="18330"/>
                  </a:lnTo>
                  <a:lnTo>
                    <a:pt x="801802" y="8146"/>
                  </a:lnTo>
                  <a:lnTo>
                    <a:pt x="748710" y="2036"/>
                  </a:lnTo>
                  <a:lnTo>
                    <a:pt x="695364" y="0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 dirty="0">
                <a:latin typeface="+mn-lt"/>
              </a:endParaRPr>
            </a:p>
          </p:txBody>
        </p:sp>
        <p:sp>
          <p:nvSpPr>
            <p:cNvPr id="40" name="object 11"/>
            <p:cNvSpPr/>
            <p:nvPr userDrawn="1"/>
          </p:nvSpPr>
          <p:spPr>
            <a:xfrm>
              <a:off x="6136067" y="2898541"/>
              <a:ext cx="640080" cy="640080"/>
            </a:xfrm>
            <a:custGeom>
              <a:avLst/>
              <a:gdLst/>
              <a:ahLst/>
              <a:cxnLst/>
              <a:rect l="l" t="t" r="r" b="b"/>
              <a:pathLst>
                <a:path w="1263752" h="1263753">
                  <a:moveTo>
                    <a:pt x="631876" y="0"/>
                  </a:moveTo>
                  <a:lnTo>
                    <a:pt x="583400" y="1850"/>
                  </a:lnTo>
                  <a:lnTo>
                    <a:pt x="535155" y="7402"/>
                  </a:lnTo>
                  <a:lnTo>
                    <a:pt x="487369" y="16656"/>
                  </a:lnTo>
                  <a:lnTo>
                    <a:pt x="440274" y="29611"/>
                  </a:lnTo>
                  <a:lnTo>
                    <a:pt x="394098" y="46268"/>
                  </a:lnTo>
                  <a:lnTo>
                    <a:pt x="349072" y="66626"/>
                  </a:lnTo>
                  <a:lnTo>
                    <a:pt x="305426" y="90685"/>
                  </a:lnTo>
                  <a:lnTo>
                    <a:pt x="263390" y="118446"/>
                  </a:lnTo>
                  <a:lnTo>
                    <a:pt x="223194" y="149908"/>
                  </a:lnTo>
                  <a:lnTo>
                    <a:pt x="185067" y="185072"/>
                  </a:lnTo>
                  <a:lnTo>
                    <a:pt x="149904" y="223198"/>
                  </a:lnTo>
                  <a:lnTo>
                    <a:pt x="118443" y="263394"/>
                  </a:lnTo>
                  <a:lnTo>
                    <a:pt x="90683" y="305429"/>
                  </a:lnTo>
                  <a:lnTo>
                    <a:pt x="66624" y="349075"/>
                  </a:lnTo>
                  <a:lnTo>
                    <a:pt x="46266" y="394100"/>
                  </a:lnTo>
                  <a:lnTo>
                    <a:pt x="29610" y="440276"/>
                  </a:lnTo>
                  <a:lnTo>
                    <a:pt x="16656" y="487371"/>
                  </a:lnTo>
                  <a:lnTo>
                    <a:pt x="7402" y="535156"/>
                  </a:lnTo>
                  <a:lnTo>
                    <a:pt x="1850" y="583401"/>
                  </a:lnTo>
                  <a:lnTo>
                    <a:pt x="0" y="631876"/>
                  </a:lnTo>
                  <a:lnTo>
                    <a:pt x="1850" y="680351"/>
                  </a:lnTo>
                  <a:lnTo>
                    <a:pt x="7402" y="728596"/>
                  </a:lnTo>
                  <a:lnTo>
                    <a:pt x="16656" y="776381"/>
                  </a:lnTo>
                  <a:lnTo>
                    <a:pt x="29610" y="823477"/>
                  </a:lnTo>
                  <a:lnTo>
                    <a:pt x="46266" y="869652"/>
                  </a:lnTo>
                  <a:lnTo>
                    <a:pt x="66624" y="914677"/>
                  </a:lnTo>
                  <a:lnTo>
                    <a:pt x="90683" y="958323"/>
                  </a:lnTo>
                  <a:lnTo>
                    <a:pt x="118443" y="1000358"/>
                  </a:lnTo>
                  <a:lnTo>
                    <a:pt x="149904" y="1040554"/>
                  </a:lnTo>
                  <a:lnTo>
                    <a:pt x="185067" y="1078680"/>
                  </a:lnTo>
                  <a:lnTo>
                    <a:pt x="223194" y="1113844"/>
                  </a:lnTo>
                  <a:lnTo>
                    <a:pt x="263390" y="1145306"/>
                  </a:lnTo>
                  <a:lnTo>
                    <a:pt x="305426" y="1173067"/>
                  </a:lnTo>
                  <a:lnTo>
                    <a:pt x="349072" y="1197127"/>
                  </a:lnTo>
                  <a:lnTo>
                    <a:pt x="394098" y="1217485"/>
                  </a:lnTo>
                  <a:lnTo>
                    <a:pt x="440274" y="1234141"/>
                  </a:lnTo>
                  <a:lnTo>
                    <a:pt x="487369" y="1247096"/>
                  </a:lnTo>
                  <a:lnTo>
                    <a:pt x="535155" y="1256350"/>
                  </a:lnTo>
                  <a:lnTo>
                    <a:pt x="583400" y="1261902"/>
                  </a:lnTo>
                  <a:lnTo>
                    <a:pt x="631876" y="1263753"/>
                  </a:lnTo>
                  <a:lnTo>
                    <a:pt x="680351" y="1261902"/>
                  </a:lnTo>
                  <a:lnTo>
                    <a:pt x="728596" y="1256350"/>
                  </a:lnTo>
                  <a:lnTo>
                    <a:pt x="776382" y="1247096"/>
                  </a:lnTo>
                  <a:lnTo>
                    <a:pt x="823477" y="1234141"/>
                  </a:lnTo>
                  <a:lnTo>
                    <a:pt x="869653" y="1217485"/>
                  </a:lnTo>
                  <a:lnTo>
                    <a:pt x="914679" y="1197127"/>
                  </a:lnTo>
                  <a:lnTo>
                    <a:pt x="958325" y="1173067"/>
                  </a:lnTo>
                  <a:lnTo>
                    <a:pt x="1000361" y="1145306"/>
                  </a:lnTo>
                  <a:lnTo>
                    <a:pt x="1040557" y="1113844"/>
                  </a:lnTo>
                  <a:lnTo>
                    <a:pt x="1078684" y="1078680"/>
                  </a:lnTo>
                  <a:lnTo>
                    <a:pt x="1113847" y="1040554"/>
                  </a:lnTo>
                  <a:lnTo>
                    <a:pt x="1145308" y="1000358"/>
                  </a:lnTo>
                  <a:lnTo>
                    <a:pt x="1173068" y="958323"/>
                  </a:lnTo>
                  <a:lnTo>
                    <a:pt x="1197127" y="914677"/>
                  </a:lnTo>
                  <a:lnTo>
                    <a:pt x="1217485" y="869652"/>
                  </a:lnTo>
                  <a:lnTo>
                    <a:pt x="1234141" y="823477"/>
                  </a:lnTo>
                  <a:lnTo>
                    <a:pt x="1247096" y="776381"/>
                  </a:lnTo>
                  <a:lnTo>
                    <a:pt x="1256349" y="728596"/>
                  </a:lnTo>
                  <a:lnTo>
                    <a:pt x="1261901" y="680351"/>
                  </a:lnTo>
                  <a:lnTo>
                    <a:pt x="1263752" y="631876"/>
                  </a:lnTo>
                  <a:lnTo>
                    <a:pt x="1261901" y="583401"/>
                  </a:lnTo>
                  <a:lnTo>
                    <a:pt x="1256349" y="535156"/>
                  </a:lnTo>
                  <a:lnTo>
                    <a:pt x="1247096" y="487371"/>
                  </a:lnTo>
                  <a:lnTo>
                    <a:pt x="1234141" y="440276"/>
                  </a:lnTo>
                  <a:lnTo>
                    <a:pt x="1217485" y="394100"/>
                  </a:lnTo>
                  <a:lnTo>
                    <a:pt x="1197127" y="349075"/>
                  </a:lnTo>
                  <a:lnTo>
                    <a:pt x="1173068" y="305429"/>
                  </a:lnTo>
                  <a:lnTo>
                    <a:pt x="1145308" y="263394"/>
                  </a:lnTo>
                  <a:lnTo>
                    <a:pt x="1113847" y="223198"/>
                  </a:lnTo>
                  <a:lnTo>
                    <a:pt x="1078684" y="185072"/>
                  </a:lnTo>
                  <a:lnTo>
                    <a:pt x="1040557" y="149908"/>
                  </a:lnTo>
                  <a:lnTo>
                    <a:pt x="1000361" y="118446"/>
                  </a:lnTo>
                  <a:lnTo>
                    <a:pt x="958325" y="90685"/>
                  </a:lnTo>
                  <a:lnTo>
                    <a:pt x="914679" y="66626"/>
                  </a:lnTo>
                  <a:lnTo>
                    <a:pt x="869653" y="46268"/>
                  </a:lnTo>
                  <a:lnTo>
                    <a:pt x="823477" y="29611"/>
                  </a:lnTo>
                  <a:lnTo>
                    <a:pt x="776382" y="16656"/>
                  </a:lnTo>
                  <a:lnTo>
                    <a:pt x="728596" y="7402"/>
                  </a:lnTo>
                  <a:lnTo>
                    <a:pt x="680351" y="1850"/>
                  </a:lnTo>
                  <a:lnTo>
                    <a:pt x="631876" y="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 dirty="0">
                <a:latin typeface="+mn-lt"/>
              </a:endParaRPr>
            </a:p>
          </p:txBody>
        </p:sp>
        <p:sp>
          <p:nvSpPr>
            <p:cNvPr id="41" name="object 9"/>
            <p:cNvSpPr/>
            <p:nvPr userDrawn="1"/>
          </p:nvSpPr>
          <p:spPr>
            <a:xfrm>
              <a:off x="4484252" y="2897813"/>
              <a:ext cx="641535" cy="641536"/>
            </a:xfrm>
            <a:custGeom>
              <a:avLst/>
              <a:gdLst/>
              <a:ahLst/>
              <a:cxnLst/>
              <a:rect l="l" t="t" r="r" b="b"/>
              <a:pathLst>
                <a:path w="1880363" h="1880367">
                  <a:moveTo>
                    <a:pt x="940185" y="0"/>
                  </a:moveTo>
                  <a:lnTo>
                    <a:pt x="868058" y="2753"/>
                  </a:lnTo>
                  <a:lnTo>
                    <a:pt x="796273" y="11014"/>
                  </a:lnTo>
                  <a:lnTo>
                    <a:pt x="725172" y="24783"/>
                  </a:lnTo>
                  <a:lnTo>
                    <a:pt x="655098" y="44059"/>
                  </a:lnTo>
                  <a:lnTo>
                    <a:pt x="586392" y="68843"/>
                  </a:lnTo>
                  <a:lnTo>
                    <a:pt x="519398" y="99134"/>
                  </a:lnTo>
                  <a:lnTo>
                    <a:pt x="454457" y="134933"/>
                  </a:lnTo>
                  <a:lnTo>
                    <a:pt x="391911" y="176239"/>
                  </a:lnTo>
                  <a:lnTo>
                    <a:pt x="332102" y="223052"/>
                  </a:lnTo>
                  <a:lnTo>
                    <a:pt x="275373" y="275373"/>
                  </a:lnTo>
                  <a:lnTo>
                    <a:pt x="223052" y="332102"/>
                  </a:lnTo>
                  <a:lnTo>
                    <a:pt x="176239" y="391910"/>
                  </a:lnTo>
                  <a:lnTo>
                    <a:pt x="134933" y="454456"/>
                  </a:lnTo>
                  <a:lnTo>
                    <a:pt x="99134" y="519397"/>
                  </a:lnTo>
                  <a:lnTo>
                    <a:pt x="68843" y="586391"/>
                  </a:lnTo>
                  <a:lnTo>
                    <a:pt x="44059" y="655097"/>
                  </a:lnTo>
                  <a:lnTo>
                    <a:pt x="24783" y="725171"/>
                  </a:lnTo>
                  <a:lnTo>
                    <a:pt x="11014" y="796271"/>
                  </a:lnTo>
                  <a:lnTo>
                    <a:pt x="2753" y="868056"/>
                  </a:lnTo>
                  <a:lnTo>
                    <a:pt x="0" y="940183"/>
                  </a:lnTo>
                  <a:lnTo>
                    <a:pt x="2753" y="1012310"/>
                  </a:lnTo>
                  <a:lnTo>
                    <a:pt x="11014" y="1084095"/>
                  </a:lnTo>
                  <a:lnTo>
                    <a:pt x="24783" y="1155196"/>
                  </a:lnTo>
                  <a:lnTo>
                    <a:pt x="44059" y="1225270"/>
                  </a:lnTo>
                  <a:lnTo>
                    <a:pt x="68843" y="1293975"/>
                  </a:lnTo>
                  <a:lnTo>
                    <a:pt x="99134" y="1360969"/>
                  </a:lnTo>
                  <a:lnTo>
                    <a:pt x="134933" y="1425911"/>
                  </a:lnTo>
                  <a:lnTo>
                    <a:pt x="176239" y="1488456"/>
                  </a:lnTo>
                  <a:lnTo>
                    <a:pt x="223052" y="1548265"/>
                  </a:lnTo>
                  <a:lnTo>
                    <a:pt x="275373" y="1604993"/>
                  </a:lnTo>
                  <a:lnTo>
                    <a:pt x="332102" y="1657314"/>
                  </a:lnTo>
                  <a:lnTo>
                    <a:pt x="391911" y="1704128"/>
                  </a:lnTo>
                  <a:lnTo>
                    <a:pt x="454457" y="1745434"/>
                  </a:lnTo>
                  <a:lnTo>
                    <a:pt x="519398" y="1781232"/>
                  </a:lnTo>
                  <a:lnTo>
                    <a:pt x="586392" y="1811523"/>
                  </a:lnTo>
                  <a:lnTo>
                    <a:pt x="655098" y="1836307"/>
                  </a:lnTo>
                  <a:lnTo>
                    <a:pt x="725172" y="1855583"/>
                  </a:lnTo>
                  <a:lnTo>
                    <a:pt x="796273" y="1869352"/>
                  </a:lnTo>
                  <a:lnTo>
                    <a:pt x="868058" y="1877613"/>
                  </a:lnTo>
                  <a:lnTo>
                    <a:pt x="940185" y="1880367"/>
                  </a:lnTo>
                  <a:lnTo>
                    <a:pt x="1012312" y="1877613"/>
                  </a:lnTo>
                  <a:lnTo>
                    <a:pt x="1084097" y="1869352"/>
                  </a:lnTo>
                  <a:lnTo>
                    <a:pt x="1155197" y="1855583"/>
                  </a:lnTo>
                  <a:lnTo>
                    <a:pt x="1225271" y="1836307"/>
                  </a:lnTo>
                  <a:lnTo>
                    <a:pt x="1293976" y="1811523"/>
                  </a:lnTo>
                  <a:lnTo>
                    <a:pt x="1360970" y="1781232"/>
                  </a:lnTo>
                  <a:lnTo>
                    <a:pt x="1425911" y="1745434"/>
                  </a:lnTo>
                  <a:lnTo>
                    <a:pt x="1488456" y="1704128"/>
                  </a:lnTo>
                  <a:lnTo>
                    <a:pt x="1548264" y="1657314"/>
                  </a:lnTo>
                  <a:lnTo>
                    <a:pt x="1604992" y="1604993"/>
                  </a:lnTo>
                  <a:lnTo>
                    <a:pt x="1657313" y="1548265"/>
                  </a:lnTo>
                  <a:lnTo>
                    <a:pt x="1704126" y="1488456"/>
                  </a:lnTo>
                  <a:lnTo>
                    <a:pt x="1745432" y="1425911"/>
                  </a:lnTo>
                  <a:lnTo>
                    <a:pt x="1781230" y="1360969"/>
                  </a:lnTo>
                  <a:lnTo>
                    <a:pt x="1811521" y="1293975"/>
                  </a:lnTo>
                  <a:lnTo>
                    <a:pt x="1836304" y="1225270"/>
                  </a:lnTo>
                  <a:lnTo>
                    <a:pt x="1855580" y="1155196"/>
                  </a:lnTo>
                  <a:lnTo>
                    <a:pt x="1869349" y="1084095"/>
                  </a:lnTo>
                  <a:lnTo>
                    <a:pt x="1877610" y="1012310"/>
                  </a:lnTo>
                  <a:lnTo>
                    <a:pt x="1880363" y="940183"/>
                  </a:lnTo>
                  <a:lnTo>
                    <a:pt x="1877610" y="868056"/>
                  </a:lnTo>
                  <a:lnTo>
                    <a:pt x="1869349" y="796271"/>
                  </a:lnTo>
                  <a:lnTo>
                    <a:pt x="1855580" y="725171"/>
                  </a:lnTo>
                  <a:lnTo>
                    <a:pt x="1836304" y="655097"/>
                  </a:lnTo>
                  <a:lnTo>
                    <a:pt x="1811521" y="586391"/>
                  </a:lnTo>
                  <a:lnTo>
                    <a:pt x="1781230" y="519397"/>
                  </a:lnTo>
                  <a:lnTo>
                    <a:pt x="1745432" y="454456"/>
                  </a:lnTo>
                  <a:lnTo>
                    <a:pt x="1704126" y="391910"/>
                  </a:lnTo>
                  <a:lnTo>
                    <a:pt x="1657313" y="332102"/>
                  </a:lnTo>
                  <a:lnTo>
                    <a:pt x="1604992" y="275373"/>
                  </a:lnTo>
                  <a:lnTo>
                    <a:pt x="1548264" y="223052"/>
                  </a:lnTo>
                  <a:lnTo>
                    <a:pt x="1488456" y="176239"/>
                  </a:lnTo>
                  <a:lnTo>
                    <a:pt x="1425911" y="134933"/>
                  </a:lnTo>
                  <a:lnTo>
                    <a:pt x="1360970" y="99134"/>
                  </a:lnTo>
                  <a:lnTo>
                    <a:pt x="1293976" y="68843"/>
                  </a:lnTo>
                  <a:lnTo>
                    <a:pt x="1225271" y="44059"/>
                  </a:lnTo>
                  <a:lnTo>
                    <a:pt x="1155197" y="24783"/>
                  </a:lnTo>
                  <a:lnTo>
                    <a:pt x="1084097" y="11014"/>
                  </a:lnTo>
                  <a:lnTo>
                    <a:pt x="1012312" y="2753"/>
                  </a:lnTo>
                  <a:lnTo>
                    <a:pt x="940185" y="0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 dirty="0">
                <a:latin typeface="+mn-lt"/>
              </a:endParaRPr>
            </a:p>
          </p:txBody>
        </p:sp>
      </p:grp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2316262"/>
            <a:ext cx="4314029" cy="381217"/>
          </a:xfrm>
        </p:spPr>
        <p:txBody>
          <a:bodyPr/>
          <a:lstStyle>
            <a:lvl1pPr marL="15394" indent="0" algn="ctr" defTabSz="4572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050" b="1" kern="1200" dirty="0">
                <a:solidFill>
                  <a:srgbClr val="0D356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5394" algn="ctr"/>
            <a:r>
              <a:rPr lang="en-US" sz="1050" b="1" dirty="0" err="1">
                <a:solidFill>
                  <a:srgbClr val="0D356E"/>
                </a:solidFill>
                <a:latin typeface="+mn-lt"/>
                <a:cs typeface="Arial"/>
              </a:rPr>
              <a:t>Subheadline</a:t>
            </a:r>
            <a:r>
              <a:rPr lang="en-US" sz="1050" b="1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b="1" dirty="0">
                <a:solidFill>
                  <a:srgbClr val="0D356E"/>
                </a:solidFill>
                <a:latin typeface="+mn-lt"/>
                <a:cs typeface="Arial"/>
              </a:rPr>
              <a:t>or</a:t>
            </a:r>
            <a:r>
              <a:rPr lang="en-US" sz="1050" b="1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b="1" dirty="0">
                <a:solidFill>
                  <a:srgbClr val="0D356E"/>
                </a:solidFill>
                <a:latin typeface="+mn-lt"/>
                <a:cs typeface="Arial"/>
              </a:rPr>
              <a:t>supportive</a:t>
            </a:r>
            <a:r>
              <a:rPr lang="en-US" sz="1050" b="1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b="1" dirty="0">
                <a:solidFill>
                  <a:srgbClr val="0D356E"/>
                </a:solidFill>
                <a:latin typeface="+mn-lt"/>
                <a:cs typeface="Arial"/>
              </a:rPr>
              <a:t>text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6266" y="2774490"/>
            <a:ext cx="4051300" cy="508000"/>
          </a:xfrm>
        </p:spPr>
        <p:txBody>
          <a:bodyPr/>
          <a:lstStyle>
            <a:lvl1pPr marL="15394" indent="0" algn="ctr" defTabSz="1828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050" kern="1200" spc="6" dirty="0">
                <a:solidFill>
                  <a:srgbClr val="0D356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5394" algn="ctr"/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Lorem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ipsum 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do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lor 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sit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amet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,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consectetur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ad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ipiscing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e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lit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. </a:t>
            </a:r>
            <a:b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</a:b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Morbi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at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mi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suscip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it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,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dap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ibus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nu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lla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eu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,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mo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lestie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quam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.</a:t>
            </a:r>
            <a:endParaRPr lang="en-US" sz="1050" dirty="0">
              <a:latin typeface="+mn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7309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56">
          <p15:clr>
            <a:srgbClr val="FBAE40"/>
          </p15:clr>
        </p15:guide>
        <p15:guide id="2" orient="horz" pos="1620">
          <p15:clr>
            <a:srgbClr val="FBAE40"/>
          </p15:clr>
        </p15:guide>
        <p15:guide id="3" orient="horz" pos="2969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8199900" cy="2492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0" name="Group 9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11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504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1956406"/>
            <a:ext cx="2114550" cy="127541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525"/>
              </a:spcAft>
            </a:pPr>
            <a:r>
              <a:rPr lang="en-US" sz="4050" dirty="0">
                <a:solidFill>
                  <a:srgbClr val="0E3570"/>
                </a:solidFill>
                <a:sym typeface="+mn-lt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0061"/>
            <a:ext cx="1023938" cy="253722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oup 11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6" name="Group 15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0" name="Straight Connector 17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8" name="Straight Connector 17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6" name="Straight Connector 17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4" name="Straight Connector 1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226664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2" name="Group 11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2" name="Straight Connector 17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0" name="Straight Connector 16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8" name="Straight Connector 16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6" name="Straight Connector 16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4" name="Straight Connector 16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2" name="Straight Connector 16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0" name="Straight Connector 1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8" name="Straight Connector 1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6" name="Straight Connector 1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4" name="Straight Connector 15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2" name="Straight Connector 15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0" name="Straight Connector 14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8" name="Straight Connector 14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6" name="Straight Connector 14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4" name="Straight Connector 14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2" name="Straight Connector 14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0" name="Straight Connector 13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8" name="Straight Connector 13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6" name="Straight Connector 13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4" name="Straight Connector 13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2" name="Straight Connector 1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0" name="Straight Connector 12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8" name="Straight Connector 12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6" name="Straight Connector 12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2" name="Straight Connector 12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0" name="Straight Connector 11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8" name="Straight Connector 11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6" name="Straight Connector 11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4" name="Straight Connector 11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2" name="Straight Connector 11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0" name="Straight Connector 10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8" name="Straight Connector 10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6" name="Straight Connector 1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4" name="Straight Connector 1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2" name="Straight Connector 1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0" name="Straight Connector 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8" name="Straight Connector 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6" name="Straight Connector 9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4" name="Straight Connector 9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2" name="Straight Connector 9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637857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08369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71324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3769835" y="1896229"/>
            <a:ext cx="0" cy="1349618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  <a:miter lim="400000"/>
          </a:ln>
        </p:spPr>
      </p:cxn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67200" y="1310123"/>
            <a:ext cx="4705351" cy="1165860"/>
          </a:xfrm>
        </p:spPr>
        <p:txBody>
          <a:bodyPr/>
          <a:lstStyle>
            <a:lvl1pPr>
              <a:defRPr sz="3600" b="1" u="sng" baseline="0">
                <a:solidFill>
                  <a:srgbClr val="0E357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3600"/>
            </a:lvl2pPr>
            <a:lvl3pPr>
              <a:defRPr sz="3600"/>
            </a:lvl3pPr>
            <a:lvl4pPr>
              <a:defRPr sz="3600"/>
            </a:lvl4pPr>
            <a:lvl5pPr>
              <a:defRPr sz="3600"/>
            </a:lvl5pPr>
          </a:lstStyle>
          <a:p>
            <a:pPr lvl="0"/>
            <a:r>
              <a:rPr lang="en-US" dirty="0"/>
              <a:t>Thank You</a:t>
            </a:r>
            <a:br>
              <a:rPr lang="en-US" dirty="0"/>
            </a:br>
            <a:r>
              <a:rPr lang="en-US" dirty="0"/>
              <a:t>for Your tim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67201" y="2855768"/>
            <a:ext cx="3190875" cy="152400"/>
          </a:xfrm>
        </p:spPr>
        <p:txBody>
          <a:bodyPr/>
          <a:lstStyle>
            <a:lvl1pPr>
              <a:defRPr sz="1200" b="1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Presenter’s first and last name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67201" y="3084022"/>
            <a:ext cx="3190875" cy="152400"/>
          </a:xfrm>
        </p:spPr>
        <p:txBody>
          <a:bodyPr/>
          <a:lstStyle>
            <a:lvl1pPr>
              <a:defRPr sz="900" b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Designation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714875" y="3348038"/>
            <a:ext cx="2743201" cy="152400"/>
          </a:xfrm>
        </p:spPr>
        <p:txBody>
          <a:bodyPr/>
          <a:lstStyle>
            <a:lvl1pPr>
              <a:defRPr sz="900" b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LinkedIn ID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14875" y="3594224"/>
            <a:ext cx="2743201" cy="152400"/>
          </a:xfrm>
        </p:spPr>
        <p:txBody>
          <a:bodyPr/>
          <a:lstStyle>
            <a:lvl1pPr>
              <a:defRPr sz="900" b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Twitter ID</a:t>
            </a:r>
          </a:p>
        </p:txBody>
      </p:sp>
      <p:pic>
        <p:nvPicPr>
          <p:cNvPr id="21" name="Picture 2" descr="Image result for linkedin logo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4365" y="3318988"/>
            <a:ext cx="210500" cy="21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Image result for twitter logo 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028" y="3536974"/>
            <a:ext cx="266900" cy="26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469" y="1709011"/>
            <a:ext cx="2193893" cy="1752170"/>
          </a:xfrm>
          <a:prstGeom prst="rect">
            <a:avLst/>
          </a:prstGeom>
        </p:spPr>
      </p:pic>
      <p:grpSp>
        <p:nvGrpSpPr>
          <p:cNvPr id="24" name="Group 23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25" name="Group 24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5" name="Straight Connector 18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3" name="Straight Connector 18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1" name="Straight Connector 18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9" name="Straight Connector 17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188" name="TitleAndEndImage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251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450" y="-1"/>
            <a:ext cx="9145350" cy="51435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000000"/>
                </a:solidFill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350" dirty="0">
                <a:solidFill>
                  <a:srgbClr val="575757"/>
                </a:solidFill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000000"/>
                </a:solidFill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rgbClr val="000000"/>
                  </a:solidFill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rgbClr val="FFFFFF"/>
                </a:solidFill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1"/>
              <a:ext cx="9030915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750" dirty="0">
                  <a:solidFill>
                    <a:srgbClr val="FFFFFF">
                      <a:lumMod val="50000"/>
                    </a:srgbClr>
                  </a:solidFill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750" dirty="0">
                  <a:solidFill>
                    <a:srgbClr val="FFFFFF">
                      <a:lumMod val="50000"/>
                    </a:srgbClr>
                  </a:solidFill>
                  <a:sym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750" dirty="0">
                  <a:solidFill>
                    <a:srgbClr val="FFFFFF">
                      <a:lumMod val="50000"/>
                    </a:srgbClr>
                  </a:solidFill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27208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041109" y="3518390"/>
            <a:ext cx="697003" cy="74690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15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1882112" y="3518390"/>
            <a:ext cx="1177614" cy="1101132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72500" y="680399"/>
            <a:ext cx="2586600" cy="91535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824407" y="836562"/>
            <a:ext cx="1882247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4050" dirty="0">
                <a:solidFill>
                  <a:srgbClr val="FFFFFF"/>
                </a:solidFill>
                <a:sym typeface="+mn-lt"/>
              </a:rPr>
              <a:t>Agenda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5" name="Group 14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82211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858250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963557" y="1071098"/>
            <a:ext cx="710754" cy="71075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63900" y="2000700"/>
            <a:ext cx="7214400" cy="24003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500" dirty="0">
              <a:solidFill>
                <a:prstClr val="white"/>
              </a:solidFill>
              <a:sym typeface="+mn-lt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2" name="Group 11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007851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858250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72500" y="467100"/>
            <a:ext cx="53924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dirty="0">
                <a:solidFill>
                  <a:srgbClr val="FFFFFF"/>
                </a:solidFill>
                <a:latin typeface="Trebuchet M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464174" y="904500"/>
            <a:ext cx="8682228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2" name="Group 11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57906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 without image and with Client/Partner log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object 4"/>
          <p:cNvSpPr/>
          <p:nvPr/>
        </p:nvSpPr>
        <p:spPr>
          <a:xfrm>
            <a:off x="-114300" y="-25400"/>
            <a:ext cx="4671298" cy="4076763"/>
          </a:xfrm>
          <a:custGeom>
            <a:avLst/>
            <a:gdLst/>
            <a:ahLst/>
            <a:cxnLst/>
            <a:rect l="l" t="t" r="r" b="b"/>
            <a:pathLst>
              <a:path w="10193348" h="8895999">
                <a:moveTo>
                  <a:pt x="8488661" y="0"/>
                </a:moveTo>
                <a:lnTo>
                  <a:pt x="1704683" y="0"/>
                </a:lnTo>
                <a:lnTo>
                  <a:pt x="1492780" y="195439"/>
                </a:lnTo>
                <a:lnTo>
                  <a:pt x="1209152" y="502960"/>
                </a:lnTo>
                <a:lnTo>
                  <a:pt x="955379" y="827176"/>
                </a:lnTo>
                <a:lnTo>
                  <a:pt x="731462" y="1166233"/>
                </a:lnTo>
                <a:lnTo>
                  <a:pt x="537401" y="1518274"/>
                </a:lnTo>
                <a:lnTo>
                  <a:pt x="373195" y="1881445"/>
                </a:lnTo>
                <a:lnTo>
                  <a:pt x="238844" y="2253892"/>
                </a:lnTo>
                <a:lnTo>
                  <a:pt x="134350" y="2633758"/>
                </a:lnTo>
                <a:lnTo>
                  <a:pt x="59711" y="3019189"/>
                </a:lnTo>
                <a:lnTo>
                  <a:pt x="14927" y="3408331"/>
                </a:lnTo>
                <a:lnTo>
                  <a:pt x="0" y="3799327"/>
                </a:lnTo>
                <a:lnTo>
                  <a:pt x="14927" y="4190324"/>
                </a:lnTo>
                <a:lnTo>
                  <a:pt x="59711" y="4579465"/>
                </a:lnTo>
                <a:lnTo>
                  <a:pt x="134350" y="4964896"/>
                </a:lnTo>
                <a:lnTo>
                  <a:pt x="238844" y="5344763"/>
                </a:lnTo>
                <a:lnTo>
                  <a:pt x="373195" y="5717209"/>
                </a:lnTo>
                <a:lnTo>
                  <a:pt x="537401" y="6080381"/>
                </a:lnTo>
                <a:lnTo>
                  <a:pt x="731462" y="6432423"/>
                </a:lnTo>
                <a:lnTo>
                  <a:pt x="955379" y="6771479"/>
                </a:lnTo>
                <a:lnTo>
                  <a:pt x="1209152" y="7095696"/>
                </a:lnTo>
                <a:lnTo>
                  <a:pt x="1492780" y="7403218"/>
                </a:lnTo>
                <a:lnTo>
                  <a:pt x="1800302" y="7686847"/>
                </a:lnTo>
                <a:lnTo>
                  <a:pt x="2124519" y="7940619"/>
                </a:lnTo>
                <a:lnTo>
                  <a:pt x="2463576" y="8164537"/>
                </a:lnTo>
                <a:lnTo>
                  <a:pt x="2815618" y="8358598"/>
                </a:lnTo>
                <a:lnTo>
                  <a:pt x="3178790" y="8522804"/>
                </a:lnTo>
                <a:lnTo>
                  <a:pt x="3551236" y="8657154"/>
                </a:lnTo>
                <a:lnTo>
                  <a:pt x="3931103" y="8761649"/>
                </a:lnTo>
                <a:lnTo>
                  <a:pt x="4316535" y="8836288"/>
                </a:lnTo>
                <a:lnTo>
                  <a:pt x="4705676" y="8881071"/>
                </a:lnTo>
                <a:lnTo>
                  <a:pt x="5096673" y="8895999"/>
                </a:lnTo>
                <a:lnTo>
                  <a:pt x="5487669" y="8881071"/>
                </a:lnTo>
                <a:lnTo>
                  <a:pt x="5876811" y="8836288"/>
                </a:lnTo>
                <a:lnTo>
                  <a:pt x="6262242" y="8761649"/>
                </a:lnTo>
                <a:lnTo>
                  <a:pt x="6642109" y="8657154"/>
                </a:lnTo>
                <a:lnTo>
                  <a:pt x="7014555" y="8522804"/>
                </a:lnTo>
                <a:lnTo>
                  <a:pt x="7377727" y="8358598"/>
                </a:lnTo>
                <a:lnTo>
                  <a:pt x="7729769" y="8164537"/>
                </a:lnTo>
                <a:lnTo>
                  <a:pt x="8068825" y="7940619"/>
                </a:lnTo>
                <a:lnTo>
                  <a:pt x="8393042" y="7686847"/>
                </a:lnTo>
                <a:lnTo>
                  <a:pt x="8700564" y="7403218"/>
                </a:lnTo>
                <a:lnTo>
                  <a:pt x="8984193" y="7095696"/>
                </a:lnTo>
                <a:lnTo>
                  <a:pt x="9237966" y="6771479"/>
                </a:lnTo>
                <a:lnTo>
                  <a:pt x="9461884" y="6432423"/>
                </a:lnTo>
                <a:lnTo>
                  <a:pt x="9655946" y="6080381"/>
                </a:lnTo>
                <a:lnTo>
                  <a:pt x="9820152" y="5717209"/>
                </a:lnTo>
                <a:lnTo>
                  <a:pt x="9954502" y="5344763"/>
                </a:lnTo>
                <a:lnTo>
                  <a:pt x="10058997" y="4964896"/>
                </a:lnTo>
                <a:lnTo>
                  <a:pt x="10133636" y="4579465"/>
                </a:lnTo>
                <a:lnTo>
                  <a:pt x="10178420" y="4190324"/>
                </a:lnTo>
                <a:lnTo>
                  <a:pt x="10193348" y="3799327"/>
                </a:lnTo>
                <a:lnTo>
                  <a:pt x="10178420" y="3408331"/>
                </a:lnTo>
                <a:lnTo>
                  <a:pt x="10133636" y="3019189"/>
                </a:lnTo>
                <a:lnTo>
                  <a:pt x="10058997" y="2633758"/>
                </a:lnTo>
                <a:lnTo>
                  <a:pt x="9954502" y="2253892"/>
                </a:lnTo>
                <a:lnTo>
                  <a:pt x="9820152" y="1881445"/>
                </a:lnTo>
                <a:lnTo>
                  <a:pt x="9655946" y="1518274"/>
                </a:lnTo>
                <a:lnTo>
                  <a:pt x="9461884" y="1166233"/>
                </a:lnTo>
                <a:lnTo>
                  <a:pt x="9237966" y="827176"/>
                </a:lnTo>
                <a:lnTo>
                  <a:pt x="8984193" y="502960"/>
                </a:lnTo>
                <a:lnTo>
                  <a:pt x="8700564" y="195439"/>
                </a:lnTo>
                <a:lnTo>
                  <a:pt x="8488661" y="0"/>
                </a:lnTo>
                <a:close/>
              </a:path>
            </a:pathLst>
          </a:custGeom>
          <a:solidFill>
            <a:srgbClr val="FFDB28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713836" y="914400"/>
            <a:ext cx="6946900" cy="12192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3600" spc="-55" dirty="0">
                <a:solidFill>
                  <a:srgbClr val="0D35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5394"/>
            <a:r>
              <a:rPr lang="en-US" sz="3600" b="1" u="sng" spc="-55" dirty="0">
                <a:solidFill>
                  <a:srgbClr val="0D356E"/>
                </a:solidFill>
                <a:latin typeface="+mn-lt"/>
                <a:cs typeface="Arial"/>
              </a:rPr>
              <a:t>Headline placeholder</a:t>
            </a:r>
            <a:br>
              <a:rPr lang="en-US" sz="3600" b="1" u="sng" spc="-55" dirty="0">
                <a:solidFill>
                  <a:srgbClr val="0D356E"/>
                </a:solidFill>
                <a:latin typeface="+mn-lt"/>
                <a:cs typeface="Arial"/>
              </a:rPr>
            </a:br>
            <a:r>
              <a:rPr lang="en-US" sz="3600" b="1" u="sng" spc="-36" dirty="0">
                <a:solidFill>
                  <a:srgbClr val="0D356E"/>
                </a:solidFill>
                <a:latin typeface="+mn-lt"/>
                <a:cs typeface="Arial"/>
              </a:rPr>
              <a:t>i</a:t>
            </a:r>
            <a:r>
              <a:rPr lang="en-US" sz="3600" b="1" u="sng" spc="-67" dirty="0">
                <a:solidFill>
                  <a:srgbClr val="0D356E"/>
                </a:solidFill>
                <a:latin typeface="+mn-lt"/>
                <a:cs typeface="Arial"/>
              </a:rPr>
              <a:t>n</a:t>
            </a:r>
            <a:r>
              <a:rPr lang="en-US" sz="3600" b="1" u="sng" spc="-6" dirty="0">
                <a:solidFill>
                  <a:srgbClr val="0D356E"/>
                </a:solidFill>
                <a:latin typeface="+mn-lt"/>
                <a:cs typeface="Arial"/>
              </a:rPr>
              <a:t> t</a:t>
            </a:r>
            <a:r>
              <a:rPr lang="en-US" sz="3600" b="1" u="sng" spc="-85" dirty="0">
                <a:solidFill>
                  <a:srgbClr val="0D356E"/>
                </a:solidFill>
                <a:latin typeface="+mn-lt"/>
                <a:cs typeface="Arial"/>
              </a:rPr>
              <a:t>w</a:t>
            </a:r>
            <a:r>
              <a:rPr lang="en-US" sz="3600" b="1" u="sng" spc="-67" dirty="0">
                <a:solidFill>
                  <a:srgbClr val="0D356E"/>
                </a:solidFill>
                <a:latin typeface="+mn-lt"/>
                <a:cs typeface="Arial"/>
              </a:rPr>
              <a:t>o</a:t>
            </a:r>
            <a:r>
              <a:rPr lang="en-US" sz="3600" b="1" u="sng" spc="-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3600" b="1" u="sng" spc="-36" dirty="0">
                <a:solidFill>
                  <a:srgbClr val="0D356E"/>
                </a:solidFill>
                <a:latin typeface="+mn-lt"/>
                <a:cs typeface="Arial"/>
              </a:rPr>
              <a:t>li</a:t>
            </a:r>
            <a:r>
              <a:rPr lang="en-US" sz="3600" b="1" u="sng" spc="-73" dirty="0">
                <a:solidFill>
                  <a:srgbClr val="0D356E"/>
                </a:solidFill>
                <a:latin typeface="+mn-lt"/>
                <a:cs typeface="Arial"/>
              </a:rPr>
              <a:t>n</a:t>
            </a:r>
            <a:r>
              <a:rPr lang="en-US" sz="3600" b="1" u="sng" spc="-61" dirty="0">
                <a:solidFill>
                  <a:srgbClr val="0D356E"/>
                </a:solidFill>
                <a:latin typeface="+mn-lt"/>
                <a:cs typeface="Arial"/>
              </a:rPr>
              <a:t>es</a:t>
            </a:r>
            <a:endParaRPr lang="en-US" sz="3600" u="sng" dirty="0">
              <a:latin typeface="+mn-lt"/>
              <a:cs typeface="Arial"/>
            </a:endParaRPr>
          </a:p>
        </p:txBody>
      </p:sp>
      <p:sp>
        <p:nvSpPr>
          <p:cNvPr id="4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2316262"/>
            <a:ext cx="4314029" cy="381217"/>
          </a:xfrm>
        </p:spPr>
        <p:txBody>
          <a:bodyPr/>
          <a:lstStyle>
            <a:lvl1pPr marL="15394" indent="0" algn="ctr" defTabSz="4572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050" b="1" kern="1200" dirty="0">
                <a:solidFill>
                  <a:srgbClr val="0D356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5394" algn="ctr"/>
            <a:r>
              <a:rPr lang="en-US" sz="1050" b="1" dirty="0" err="1">
                <a:solidFill>
                  <a:srgbClr val="0D356E"/>
                </a:solidFill>
                <a:latin typeface="+mn-lt"/>
                <a:cs typeface="Arial"/>
              </a:rPr>
              <a:t>Subheadline</a:t>
            </a:r>
            <a:r>
              <a:rPr lang="en-US" sz="1050" b="1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b="1" dirty="0">
                <a:solidFill>
                  <a:srgbClr val="0D356E"/>
                </a:solidFill>
                <a:latin typeface="+mn-lt"/>
                <a:cs typeface="Arial"/>
              </a:rPr>
              <a:t>or</a:t>
            </a:r>
            <a:r>
              <a:rPr lang="en-US" sz="1050" b="1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b="1" dirty="0">
                <a:solidFill>
                  <a:srgbClr val="0D356E"/>
                </a:solidFill>
                <a:latin typeface="+mn-lt"/>
                <a:cs typeface="Arial"/>
              </a:rPr>
              <a:t>supportive</a:t>
            </a:r>
            <a:r>
              <a:rPr lang="en-US" sz="1050" b="1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b="1" dirty="0">
                <a:solidFill>
                  <a:srgbClr val="0D356E"/>
                </a:solidFill>
                <a:latin typeface="+mn-lt"/>
                <a:cs typeface="Arial"/>
              </a:rPr>
              <a:t>text</a:t>
            </a:r>
          </a:p>
        </p:txBody>
      </p:sp>
      <p:sp>
        <p:nvSpPr>
          <p:cNvPr id="4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6266" y="2774490"/>
            <a:ext cx="4051300" cy="508000"/>
          </a:xfrm>
        </p:spPr>
        <p:txBody>
          <a:bodyPr/>
          <a:lstStyle>
            <a:lvl1pPr marL="15394" indent="0" algn="ctr" defTabSz="1828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050" kern="1200" spc="6" dirty="0">
                <a:solidFill>
                  <a:srgbClr val="0D356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5394" algn="ctr"/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Lorem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ipsum 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do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lor 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sit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amet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,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consectetur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ad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ipiscing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e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lit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. </a:t>
            </a:r>
            <a:b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</a:b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Morbi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at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mi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suscip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it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,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dap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ibus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nu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lla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eu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,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mo</a:t>
            </a:r>
            <a:r>
              <a:rPr lang="en-US" sz="1050" spc="6" dirty="0" err="1">
                <a:solidFill>
                  <a:srgbClr val="0D356E"/>
                </a:solidFill>
                <a:latin typeface="+mn-lt"/>
                <a:cs typeface="Arial"/>
              </a:rPr>
              <a:t>lestie</a:t>
            </a:r>
            <a:r>
              <a:rPr lang="en-US" sz="1050" spc="6" dirty="0">
                <a:solidFill>
                  <a:srgbClr val="0D356E"/>
                </a:solidFill>
                <a:latin typeface="+mn-lt"/>
                <a:cs typeface="Arial"/>
              </a:rPr>
              <a:t> </a:t>
            </a:r>
            <a:r>
              <a:rPr lang="en-US" sz="1050" dirty="0" err="1">
                <a:solidFill>
                  <a:srgbClr val="0D356E"/>
                </a:solidFill>
                <a:latin typeface="+mn-lt"/>
                <a:cs typeface="Arial"/>
              </a:rPr>
              <a:t>quam</a:t>
            </a:r>
            <a:r>
              <a:rPr lang="en-US" sz="1050" dirty="0">
                <a:solidFill>
                  <a:srgbClr val="0D356E"/>
                </a:solidFill>
                <a:latin typeface="+mn-lt"/>
                <a:cs typeface="Arial"/>
              </a:rPr>
              <a:t>.</a:t>
            </a:r>
            <a:endParaRPr lang="en-US" sz="1050" dirty="0">
              <a:latin typeface="+mn-lt"/>
              <a:cs typeface="Arial"/>
            </a:endParaRP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484252" y="2897813"/>
            <a:ext cx="3118452" cy="641536"/>
            <a:chOff x="4484252" y="2897813"/>
            <a:chExt cx="3118452" cy="641536"/>
          </a:xfrm>
        </p:grpSpPr>
        <p:sp>
          <p:nvSpPr>
            <p:cNvPr id="23" name="object 8"/>
            <p:cNvSpPr/>
            <p:nvPr userDrawn="1"/>
          </p:nvSpPr>
          <p:spPr>
            <a:xfrm>
              <a:off x="6962624" y="2898541"/>
              <a:ext cx="640080" cy="640080"/>
            </a:xfrm>
            <a:custGeom>
              <a:avLst/>
              <a:gdLst/>
              <a:ahLst/>
              <a:cxnLst/>
              <a:rect l="l" t="t" r="r" b="b"/>
              <a:pathLst>
                <a:path w="4127753" h="4127749">
                  <a:moveTo>
                    <a:pt x="2063876" y="0"/>
                  </a:moveTo>
                  <a:lnTo>
                    <a:pt x="1905544" y="6044"/>
                  </a:lnTo>
                  <a:lnTo>
                    <a:pt x="1747964" y="24179"/>
                  </a:lnTo>
                  <a:lnTo>
                    <a:pt x="1591885" y="54404"/>
                  </a:lnTo>
                  <a:lnTo>
                    <a:pt x="1438060" y="96719"/>
                  </a:lnTo>
                  <a:lnTo>
                    <a:pt x="1287239" y="151123"/>
                  </a:lnTo>
                  <a:lnTo>
                    <a:pt x="1140175" y="217618"/>
                  </a:lnTo>
                  <a:lnTo>
                    <a:pt x="997617" y="296202"/>
                  </a:lnTo>
                  <a:lnTo>
                    <a:pt x="860317" y="386876"/>
                  </a:lnTo>
                  <a:lnTo>
                    <a:pt x="729027" y="489640"/>
                  </a:lnTo>
                  <a:lnTo>
                    <a:pt x="604497" y="604494"/>
                  </a:lnTo>
                  <a:lnTo>
                    <a:pt x="489642" y="729024"/>
                  </a:lnTo>
                  <a:lnTo>
                    <a:pt x="386878" y="860314"/>
                  </a:lnTo>
                  <a:lnTo>
                    <a:pt x="296203" y="997614"/>
                  </a:lnTo>
                  <a:lnTo>
                    <a:pt x="217619" y="1140171"/>
                  </a:lnTo>
                  <a:lnTo>
                    <a:pt x="151124" y="1287236"/>
                  </a:lnTo>
                  <a:lnTo>
                    <a:pt x="96719" y="1438057"/>
                  </a:lnTo>
                  <a:lnTo>
                    <a:pt x="54404" y="1591882"/>
                  </a:lnTo>
                  <a:lnTo>
                    <a:pt x="24179" y="1747961"/>
                  </a:lnTo>
                  <a:lnTo>
                    <a:pt x="6044" y="1905542"/>
                  </a:lnTo>
                  <a:lnTo>
                    <a:pt x="0" y="2063874"/>
                  </a:lnTo>
                  <a:lnTo>
                    <a:pt x="6044" y="2222206"/>
                  </a:lnTo>
                  <a:lnTo>
                    <a:pt x="24179" y="2379787"/>
                  </a:lnTo>
                  <a:lnTo>
                    <a:pt x="54404" y="2535866"/>
                  </a:lnTo>
                  <a:lnTo>
                    <a:pt x="96719" y="2689691"/>
                  </a:lnTo>
                  <a:lnTo>
                    <a:pt x="151124" y="2840512"/>
                  </a:lnTo>
                  <a:lnTo>
                    <a:pt x="217619" y="2987577"/>
                  </a:lnTo>
                  <a:lnTo>
                    <a:pt x="296203" y="3130134"/>
                  </a:lnTo>
                  <a:lnTo>
                    <a:pt x="386878" y="3267434"/>
                  </a:lnTo>
                  <a:lnTo>
                    <a:pt x="489642" y="3398724"/>
                  </a:lnTo>
                  <a:lnTo>
                    <a:pt x="604497" y="3523254"/>
                  </a:lnTo>
                  <a:lnTo>
                    <a:pt x="729027" y="3638108"/>
                  </a:lnTo>
                  <a:lnTo>
                    <a:pt x="860317" y="3740872"/>
                  </a:lnTo>
                  <a:lnTo>
                    <a:pt x="997617" y="3831546"/>
                  </a:lnTo>
                  <a:lnTo>
                    <a:pt x="1140175" y="3910131"/>
                  </a:lnTo>
                  <a:lnTo>
                    <a:pt x="1287239" y="3976625"/>
                  </a:lnTo>
                  <a:lnTo>
                    <a:pt x="1438060" y="4031029"/>
                  </a:lnTo>
                  <a:lnTo>
                    <a:pt x="1591885" y="4073344"/>
                  </a:lnTo>
                  <a:lnTo>
                    <a:pt x="1747964" y="4103569"/>
                  </a:lnTo>
                  <a:lnTo>
                    <a:pt x="1905544" y="4121704"/>
                  </a:lnTo>
                  <a:lnTo>
                    <a:pt x="2063876" y="4127749"/>
                  </a:lnTo>
                  <a:lnTo>
                    <a:pt x="2222208" y="4121704"/>
                  </a:lnTo>
                  <a:lnTo>
                    <a:pt x="2379789" y="4103569"/>
                  </a:lnTo>
                  <a:lnTo>
                    <a:pt x="2535868" y="4073344"/>
                  </a:lnTo>
                  <a:lnTo>
                    <a:pt x="2689693" y="4031029"/>
                  </a:lnTo>
                  <a:lnTo>
                    <a:pt x="2840513" y="3976625"/>
                  </a:lnTo>
                  <a:lnTo>
                    <a:pt x="2987578" y="3910131"/>
                  </a:lnTo>
                  <a:lnTo>
                    <a:pt x="3130136" y="3831546"/>
                  </a:lnTo>
                  <a:lnTo>
                    <a:pt x="3267436" y="3740872"/>
                  </a:lnTo>
                  <a:lnTo>
                    <a:pt x="3398726" y="3638108"/>
                  </a:lnTo>
                  <a:lnTo>
                    <a:pt x="3523256" y="3523254"/>
                  </a:lnTo>
                  <a:lnTo>
                    <a:pt x="3638111" y="3398724"/>
                  </a:lnTo>
                  <a:lnTo>
                    <a:pt x="3740875" y="3267434"/>
                  </a:lnTo>
                  <a:lnTo>
                    <a:pt x="3831550" y="3130134"/>
                  </a:lnTo>
                  <a:lnTo>
                    <a:pt x="3910134" y="2987577"/>
                  </a:lnTo>
                  <a:lnTo>
                    <a:pt x="3976629" y="2840512"/>
                  </a:lnTo>
                  <a:lnTo>
                    <a:pt x="4031034" y="2689691"/>
                  </a:lnTo>
                  <a:lnTo>
                    <a:pt x="4073349" y="2535866"/>
                  </a:lnTo>
                  <a:lnTo>
                    <a:pt x="4103574" y="2379787"/>
                  </a:lnTo>
                  <a:lnTo>
                    <a:pt x="4121708" y="2222206"/>
                  </a:lnTo>
                  <a:lnTo>
                    <a:pt x="4127753" y="2063874"/>
                  </a:lnTo>
                  <a:lnTo>
                    <a:pt x="4121708" y="1905542"/>
                  </a:lnTo>
                  <a:lnTo>
                    <a:pt x="4103574" y="1747961"/>
                  </a:lnTo>
                  <a:lnTo>
                    <a:pt x="4073349" y="1591882"/>
                  </a:lnTo>
                  <a:lnTo>
                    <a:pt x="4031034" y="1438057"/>
                  </a:lnTo>
                  <a:lnTo>
                    <a:pt x="3976629" y="1287236"/>
                  </a:lnTo>
                  <a:lnTo>
                    <a:pt x="3910134" y="1140171"/>
                  </a:lnTo>
                  <a:lnTo>
                    <a:pt x="3831550" y="997614"/>
                  </a:lnTo>
                  <a:lnTo>
                    <a:pt x="3740875" y="860314"/>
                  </a:lnTo>
                  <a:lnTo>
                    <a:pt x="3638111" y="729024"/>
                  </a:lnTo>
                  <a:lnTo>
                    <a:pt x="3523256" y="604494"/>
                  </a:lnTo>
                  <a:lnTo>
                    <a:pt x="3398726" y="489640"/>
                  </a:lnTo>
                  <a:lnTo>
                    <a:pt x="3267436" y="386876"/>
                  </a:lnTo>
                  <a:lnTo>
                    <a:pt x="3130136" y="296202"/>
                  </a:lnTo>
                  <a:lnTo>
                    <a:pt x="2987578" y="217618"/>
                  </a:lnTo>
                  <a:lnTo>
                    <a:pt x="2840513" y="151123"/>
                  </a:lnTo>
                  <a:lnTo>
                    <a:pt x="2689693" y="96719"/>
                  </a:lnTo>
                  <a:lnTo>
                    <a:pt x="2535868" y="54404"/>
                  </a:lnTo>
                  <a:lnTo>
                    <a:pt x="2379789" y="24179"/>
                  </a:lnTo>
                  <a:lnTo>
                    <a:pt x="2222208" y="6044"/>
                  </a:lnTo>
                  <a:lnTo>
                    <a:pt x="2063876" y="0"/>
                  </a:lnTo>
                  <a:close/>
                </a:path>
              </a:pathLst>
            </a:custGeom>
            <a:solidFill>
              <a:schemeClr val="accent5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 dirty="0">
                <a:latin typeface="+mn-lt"/>
              </a:endParaRPr>
            </a:p>
          </p:txBody>
        </p:sp>
        <p:sp>
          <p:nvSpPr>
            <p:cNvPr id="24" name="object 10"/>
            <p:cNvSpPr/>
            <p:nvPr userDrawn="1"/>
          </p:nvSpPr>
          <p:spPr>
            <a:xfrm>
              <a:off x="5312263" y="2899917"/>
              <a:ext cx="637328" cy="637328"/>
            </a:xfrm>
            <a:custGeom>
              <a:avLst/>
              <a:gdLst/>
              <a:ahLst/>
              <a:cxnLst/>
              <a:rect l="l" t="t" r="r" b="b"/>
              <a:pathLst>
                <a:path w="1390729" h="1390729">
                  <a:moveTo>
                    <a:pt x="695364" y="0"/>
                  </a:moveTo>
                  <a:lnTo>
                    <a:pt x="642019" y="2036"/>
                  </a:lnTo>
                  <a:lnTo>
                    <a:pt x="588926" y="8146"/>
                  </a:lnTo>
                  <a:lnTo>
                    <a:pt x="536340" y="18330"/>
                  </a:lnTo>
                  <a:lnTo>
                    <a:pt x="484512" y="32586"/>
                  </a:lnTo>
                  <a:lnTo>
                    <a:pt x="433697" y="50916"/>
                  </a:lnTo>
                  <a:lnTo>
                    <a:pt x="384147" y="73320"/>
                  </a:lnTo>
                  <a:lnTo>
                    <a:pt x="336116" y="99796"/>
                  </a:lnTo>
                  <a:lnTo>
                    <a:pt x="289856" y="130346"/>
                  </a:lnTo>
                  <a:lnTo>
                    <a:pt x="245621" y="164970"/>
                  </a:lnTo>
                  <a:lnTo>
                    <a:pt x="203663" y="203667"/>
                  </a:lnTo>
                  <a:lnTo>
                    <a:pt x="164967" y="245623"/>
                  </a:lnTo>
                  <a:lnTo>
                    <a:pt x="130344" y="289858"/>
                  </a:lnTo>
                  <a:lnTo>
                    <a:pt x="99795" y="336117"/>
                  </a:lnTo>
                  <a:lnTo>
                    <a:pt x="73319" y="384148"/>
                  </a:lnTo>
                  <a:lnTo>
                    <a:pt x="50915" y="433698"/>
                  </a:lnTo>
                  <a:lnTo>
                    <a:pt x="32586" y="484512"/>
                  </a:lnTo>
                  <a:lnTo>
                    <a:pt x="18329" y="536339"/>
                  </a:lnTo>
                  <a:lnTo>
                    <a:pt x="8146" y="588926"/>
                  </a:lnTo>
                  <a:lnTo>
                    <a:pt x="2036" y="642018"/>
                  </a:lnTo>
                  <a:lnTo>
                    <a:pt x="0" y="695364"/>
                  </a:lnTo>
                  <a:lnTo>
                    <a:pt x="2036" y="748710"/>
                  </a:lnTo>
                  <a:lnTo>
                    <a:pt x="8146" y="801802"/>
                  </a:lnTo>
                  <a:lnTo>
                    <a:pt x="18329" y="854389"/>
                  </a:lnTo>
                  <a:lnTo>
                    <a:pt x="32586" y="906216"/>
                  </a:lnTo>
                  <a:lnTo>
                    <a:pt x="50915" y="957030"/>
                  </a:lnTo>
                  <a:lnTo>
                    <a:pt x="73319" y="1006580"/>
                  </a:lnTo>
                  <a:lnTo>
                    <a:pt x="99795" y="1054610"/>
                  </a:lnTo>
                  <a:lnTo>
                    <a:pt x="130344" y="1100870"/>
                  </a:lnTo>
                  <a:lnTo>
                    <a:pt x="164967" y="1145104"/>
                  </a:lnTo>
                  <a:lnTo>
                    <a:pt x="203663" y="1187061"/>
                  </a:lnTo>
                  <a:lnTo>
                    <a:pt x="245621" y="1225758"/>
                  </a:lnTo>
                  <a:lnTo>
                    <a:pt x="289856" y="1260381"/>
                  </a:lnTo>
                  <a:lnTo>
                    <a:pt x="336116" y="1290931"/>
                  </a:lnTo>
                  <a:lnTo>
                    <a:pt x="384147" y="1317408"/>
                  </a:lnTo>
                  <a:lnTo>
                    <a:pt x="433697" y="1339812"/>
                  </a:lnTo>
                  <a:lnTo>
                    <a:pt x="484512" y="1358142"/>
                  </a:lnTo>
                  <a:lnTo>
                    <a:pt x="536340" y="1372399"/>
                  </a:lnTo>
                  <a:lnTo>
                    <a:pt x="588926" y="1382582"/>
                  </a:lnTo>
                  <a:lnTo>
                    <a:pt x="642019" y="1388692"/>
                  </a:lnTo>
                  <a:lnTo>
                    <a:pt x="695364" y="1390729"/>
                  </a:lnTo>
                  <a:lnTo>
                    <a:pt x="748710" y="1388692"/>
                  </a:lnTo>
                  <a:lnTo>
                    <a:pt x="801802" y="1382582"/>
                  </a:lnTo>
                  <a:lnTo>
                    <a:pt x="854389" y="1372399"/>
                  </a:lnTo>
                  <a:lnTo>
                    <a:pt x="906215" y="1358142"/>
                  </a:lnTo>
                  <a:lnTo>
                    <a:pt x="957030" y="1339812"/>
                  </a:lnTo>
                  <a:lnTo>
                    <a:pt x="1006579" y="1317408"/>
                  </a:lnTo>
                  <a:lnTo>
                    <a:pt x="1054609" y="1290931"/>
                  </a:lnTo>
                  <a:lnTo>
                    <a:pt x="1100868" y="1260381"/>
                  </a:lnTo>
                  <a:lnTo>
                    <a:pt x="1145102" y="1225758"/>
                  </a:lnTo>
                  <a:lnTo>
                    <a:pt x="1187058" y="1187061"/>
                  </a:lnTo>
                  <a:lnTo>
                    <a:pt x="1225755" y="1145104"/>
                  </a:lnTo>
                  <a:lnTo>
                    <a:pt x="1260379" y="1100870"/>
                  </a:lnTo>
                  <a:lnTo>
                    <a:pt x="1290930" y="1054610"/>
                  </a:lnTo>
                  <a:lnTo>
                    <a:pt x="1317408" y="1006580"/>
                  </a:lnTo>
                  <a:lnTo>
                    <a:pt x="1339811" y="957030"/>
                  </a:lnTo>
                  <a:lnTo>
                    <a:pt x="1358142" y="906216"/>
                  </a:lnTo>
                  <a:lnTo>
                    <a:pt x="1372399" y="854389"/>
                  </a:lnTo>
                  <a:lnTo>
                    <a:pt x="1382583" y="801802"/>
                  </a:lnTo>
                  <a:lnTo>
                    <a:pt x="1388693" y="748710"/>
                  </a:lnTo>
                  <a:lnTo>
                    <a:pt x="1390729" y="695364"/>
                  </a:lnTo>
                  <a:lnTo>
                    <a:pt x="1388693" y="642018"/>
                  </a:lnTo>
                  <a:lnTo>
                    <a:pt x="1382583" y="588926"/>
                  </a:lnTo>
                  <a:lnTo>
                    <a:pt x="1372399" y="536339"/>
                  </a:lnTo>
                  <a:lnTo>
                    <a:pt x="1358142" y="484512"/>
                  </a:lnTo>
                  <a:lnTo>
                    <a:pt x="1339811" y="433698"/>
                  </a:lnTo>
                  <a:lnTo>
                    <a:pt x="1317408" y="384148"/>
                  </a:lnTo>
                  <a:lnTo>
                    <a:pt x="1290930" y="336117"/>
                  </a:lnTo>
                  <a:lnTo>
                    <a:pt x="1260379" y="289858"/>
                  </a:lnTo>
                  <a:lnTo>
                    <a:pt x="1225755" y="245623"/>
                  </a:lnTo>
                  <a:lnTo>
                    <a:pt x="1187058" y="203667"/>
                  </a:lnTo>
                  <a:lnTo>
                    <a:pt x="1145102" y="164970"/>
                  </a:lnTo>
                  <a:lnTo>
                    <a:pt x="1100868" y="130346"/>
                  </a:lnTo>
                  <a:lnTo>
                    <a:pt x="1054609" y="99796"/>
                  </a:lnTo>
                  <a:lnTo>
                    <a:pt x="1006579" y="73320"/>
                  </a:lnTo>
                  <a:lnTo>
                    <a:pt x="957030" y="50916"/>
                  </a:lnTo>
                  <a:lnTo>
                    <a:pt x="906215" y="32586"/>
                  </a:lnTo>
                  <a:lnTo>
                    <a:pt x="854389" y="18330"/>
                  </a:lnTo>
                  <a:lnTo>
                    <a:pt x="801802" y="8146"/>
                  </a:lnTo>
                  <a:lnTo>
                    <a:pt x="748710" y="2036"/>
                  </a:lnTo>
                  <a:lnTo>
                    <a:pt x="695364" y="0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 dirty="0">
                <a:latin typeface="+mn-lt"/>
              </a:endParaRPr>
            </a:p>
          </p:txBody>
        </p:sp>
        <p:sp>
          <p:nvSpPr>
            <p:cNvPr id="30" name="object 11"/>
            <p:cNvSpPr/>
            <p:nvPr userDrawn="1"/>
          </p:nvSpPr>
          <p:spPr>
            <a:xfrm>
              <a:off x="6136067" y="2898541"/>
              <a:ext cx="640080" cy="640080"/>
            </a:xfrm>
            <a:custGeom>
              <a:avLst/>
              <a:gdLst/>
              <a:ahLst/>
              <a:cxnLst/>
              <a:rect l="l" t="t" r="r" b="b"/>
              <a:pathLst>
                <a:path w="1263752" h="1263753">
                  <a:moveTo>
                    <a:pt x="631876" y="0"/>
                  </a:moveTo>
                  <a:lnTo>
                    <a:pt x="583400" y="1850"/>
                  </a:lnTo>
                  <a:lnTo>
                    <a:pt x="535155" y="7402"/>
                  </a:lnTo>
                  <a:lnTo>
                    <a:pt x="487369" y="16656"/>
                  </a:lnTo>
                  <a:lnTo>
                    <a:pt x="440274" y="29611"/>
                  </a:lnTo>
                  <a:lnTo>
                    <a:pt x="394098" y="46268"/>
                  </a:lnTo>
                  <a:lnTo>
                    <a:pt x="349072" y="66626"/>
                  </a:lnTo>
                  <a:lnTo>
                    <a:pt x="305426" y="90685"/>
                  </a:lnTo>
                  <a:lnTo>
                    <a:pt x="263390" y="118446"/>
                  </a:lnTo>
                  <a:lnTo>
                    <a:pt x="223194" y="149908"/>
                  </a:lnTo>
                  <a:lnTo>
                    <a:pt x="185067" y="185072"/>
                  </a:lnTo>
                  <a:lnTo>
                    <a:pt x="149904" y="223198"/>
                  </a:lnTo>
                  <a:lnTo>
                    <a:pt x="118443" y="263394"/>
                  </a:lnTo>
                  <a:lnTo>
                    <a:pt x="90683" y="305429"/>
                  </a:lnTo>
                  <a:lnTo>
                    <a:pt x="66624" y="349075"/>
                  </a:lnTo>
                  <a:lnTo>
                    <a:pt x="46266" y="394100"/>
                  </a:lnTo>
                  <a:lnTo>
                    <a:pt x="29610" y="440276"/>
                  </a:lnTo>
                  <a:lnTo>
                    <a:pt x="16656" y="487371"/>
                  </a:lnTo>
                  <a:lnTo>
                    <a:pt x="7402" y="535156"/>
                  </a:lnTo>
                  <a:lnTo>
                    <a:pt x="1850" y="583401"/>
                  </a:lnTo>
                  <a:lnTo>
                    <a:pt x="0" y="631876"/>
                  </a:lnTo>
                  <a:lnTo>
                    <a:pt x="1850" y="680351"/>
                  </a:lnTo>
                  <a:lnTo>
                    <a:pt x="7402" y="728596"/>
                  </a:lnTo>
                  <a:lnTo>
                    <a:pt x="16656" y="776381"/>
                  </a:lnTo>
                  <a:lnTo>
                    <a:pt x="29610" y="823477"/>
                  </a:lnTo>
                  <a:lnTo>
                    <a:pt x="46266" y="869652"/>
                  </a:lnTo>
                  <a:lnTo>
                    <a:pt x="66624" y="914677"/>
                  </a:lnTo>
                  <a:lnTo>
                    <a:pt x="90683" y="958323"/>
                  </a:lnTo>
                  <a:lnTo>
                    <a:pt x="118443" y="1000358"/>
                  </a:lnTo>
                  <a:lnTo>
                    <a:pt x="149904" y="1040554"/>
                  </a:lnTo>
                  <a:lnTo>
                    <a:pt x="185067" y="1078680"/>
                  </a:lnTo>
                  <a:lnTo>
                    <a:pt x="223194" y="1113844"/>
                  </a:lnTo>
                  <a:lnTo>
                    <a:pt x="263390" y="1145306"/>
                  </a:lnTo>
                  <a:lnTo>
                    <a:pt x="305426" y="1173067"/>
                  </a:lnTo>
                  <a:lnTo>
                    <a:pt x="349072" y="1197127"/>
                  </a:lnTo>
                  <a:lnTo>
                    <a:pt x="394098" y="1217485"/>
                  </a:lnTo>
                  <a:lnTo>
                    <a:pt x="440274" y="1234141"/>
                  </a:lnTo>
                  <a:lnTo>
                    <a:pt x="487369" y="1247096"/>
                  </a:lnTo>
                  <a:lnTo>
                    <a:pt x="535155" y="1256350"/>
                  </a:lnTo>
                  <a:lnTo>
                    <a:pt x="583400" y="1261902"/>
                  </a:lnTo>
                  <a:lnTo>
                    <a:pt x="631876" y="1263753"/>
                  </a:lnTo>
                  <a:lnTo>
                    <a:pt x="680351" y="1261902"/>
                  </a:lnTo>
                  <a:lnTo>
                    <a:pt x="728596" y="1256350"/>
                  </a:lnTo>
                  <a:lnTo>
                    <a:pt x="776382" y="1247096"/>
                  </a:lnTo>
                  <a:lnTo>
                    <a:pt x="823477" y="1234141"/>
                  </a:lnTo>
                  <a:lnTo>
                    <a:pt x="869653" y="1217485"/>
                  </a:lnTo>
                  <a:lnTo>
                    <a:pt x="914679" y="1197127"/>
                  </a:lnTo>
                  <a:lnTo>
                    <a:pt x="958325" y="1173067"/>
                  </a:lnTo>
                  <a:lnTo>
                    <a:pt x="1000361" y="1145306"/>
                  </a:lnTo>
                  <a:lnTo>
                    <a:pt x="1040557" y="1113844"/>
                  </a:lnTo>
                  <a:lnTo>
                    <a:pt x="1078684" y="1078680"/>
                  </a:lnTo>
                  <a:lnTo>
                    <a:pt x="1113847" y="1040554"/>
                  </a:lnTo>
                  <a:lnTo>
                    <a:pt x="1145308" y="1000358"/>
                  </a:lnTo>
                  <a:lnTo>
                    <a:pt x="1173068" y="958323"/>
                  </a:lnTo>
                  <a:lnTo>
                    <a:pt x="1197127" y="914677"/>
                  </a:lnTo>
                  <a:lnTo>
                    <a:pt x="1217485" y="869652"/>
                  </a:lnTo>
                  <a:lnTo>
                    <a:pt x="1234141" y="823477"/>
                  </a:lnTo>
                  <a:lnTo>
                    <a:pt x="1247096" y="776381"/>
                  </a:lnTo>
                  <a:lnTo>
                    <a:pt x="1256349" y="728596"/>
                  </a:lnTo>
                  <a:lnTo>
                    <a:pt x="1261901" y="680351"/>
                  </a:lnTo>
                  <a:lnTo>
                    <a:pt x="1263752" y="631876"/>
                  </a:lnTo>
                  <a:lnTo>
                    <a:pt x="1261901" y="583401"/>
                  </a:lnTo>
                  <a:lnTo>
                    <a:pt x="1256349" y="535156"/>
                  </a:lnTo>
                  <a:lnTo>
                    <a:pt x="1247096" y="487371"/>
                  </a:lnTo>
                  <a:lnTo>
                    <a:pt x="1234141" y="440276"/>
                  </a:lnTo>
                  <a:lnTo>
                    <a:pt x="1217485" y="394100"/>
                  </a:lnTo>
                  <a:lnTo>
                    <a:pt x="1197127" y="349075"/>
                  </a:lnTo>
                  <a:lnTo>
                    <a:pt x="1173068" y="305429"/>
                  </a:lnTo>
                  <a:lnTo>
                    <a:pt x="1145308" y="263394"/>
                  </a:lnTo>
                  <a:lnTo>
                    <a:pt x="1113847" y="223198"/>
                  </a:lnTo>
                  <a:lnTo>
                    <a:pt x="1078684" y="185072"/>
                  </a:lnTo>
                  <a:lnTo>
                    <a:pt x="1040557" y="149908"/>
                  </a:lnTo>
                  <a:lnTo>
                    <a:pt x="1000361" y="118446"/>
                  </a:lnTo>
                  <a:lnTo>
                    <a:pt x="958325" y="90685"/>
                  </a:lnTo>
                  <a:lnTo>
                    <a:pt x="914679" y="66626"/>
                  </a:lnTo>
                  <a:lnTo>
                    <a:pt x="869653" y="46268"/>
                  </a:lnTo>
                  <a:lnTo>
                    <a:pt x="823477" y="29611"/>
                  </a:lnTo>
                  <a:lnTo>
                    <a:pt x="776382" y="16656"/>
                  </a:lnTo>
                  <a:lnTo>
                    <a:pt x="728596" y="7402"/>
                  </a:lnTo>
                  <a:lnTo>
                    <a:pt x="680351" y="1850"/>
                  </a:lnTo>
                  <a:lnTo>
                    <a:pt x="631876" y="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 dirty="0">
                <a:latin typeface="+mn-lt"/>
              </a:endParaRPr>
            </a:p>
          </p:txBody>
        </p:sp>
        <p:sp>
          <p:nvSpPr>
            <p:cNvPr id="32" name="object 9"/>
            <p:cNvSpPr/>
            <p:nvPr userDrawn="1"/>
          </p:nvSpPr>
          <p:spPr>
            <a:xfrm>
              <a:off x="4484252" y="2897813"/>
              <a:ext cx="641535" cy="641536"/>
            </a:xfrm>
            <a:custGeom>
              <a:avLst/>
              <a:gdLst/>
              <a:ahLst/>
              <a:cxnLst/>
              <a:rect l="l" t="t" r="r" b="b"/>
              <a:pathLst>
                <a:path w="1880363" h="1880367">
                  <a:moveTo>
                    <a:pt x="940185" y="0"/>
                  </a:moveTo>
                  <a:lnTo>
                    <a:pt x="868058" y="2753"/>
                  </a:lnTo>
                  <a:lnTo>
                    <a:pt x="796273" y="11014"/>
                  </a:lnTo>
                  <a:lnTo>
                    <a:pt x="725172" y="24783"/>
                  </a:lnTo>
                  <a:lnTo>
                    <a:pt x="655098" y="44059"/>
                  </a:lnTo>
                  <a:lnTo>
                    <a:pt x="586392" y="68843"/>
                  </a:lnTo>
                  <a:lnTo>
                    <a:pt x="519398" y="99134"/>
                  </a:lnTo>
                  <a:lnTo>
                    <a:pt x="454457" y="134933"/>
                  </a:lnTo>
                  <a:lnTo>
                    <a:pt x="391911" y="176239"/>
                  </a:lnTo>
                  <a:lnTo>
                    <a:pt x="332102" y="223052"/>
                  </a:lnTo>
                  <a:lnTo>
                    <a:pt x="275373" y="275373"/>
                  </a:lnTo>
                  <a:lnTo>
                    <a:pt x="223052" y="332102"/>
                  </a:lnTo>
                  <a:lnTo>
                    <a:pt x="176239" y="391910"/>
                  </a:lnTo>
                  <a:lnTo>
                    <a:pt x="134933" y="454456"/>
                  </a:lnTo>
                  <a:lnTo>
                    <a:pt x="99134" y="519397"/>
                  </a:lnTo>
                  <a:lnTo>
                    <a:pt x="68843" y="586391"/>
                  </a:lnTo>
                  <a:lnTo>
                    <a:pt x="44059" y="655097"/>
                  </a:lnTo>
                  <a:lnTo>
                    <a:pt x="24783" y="725171"/>
                  </a:lnTo>
                  <a:lnTo>
                    <a:pt x="11014" y="796271"/>
                  </a:lnTo>
                  <a:lnTo>
                    <a:pt x="2753" y="868056"/>
                  </a:lnTo>
                  <a:lnTo>
                    <a:pt x="0" y="940183"/>
                  </a:lnTo>
                  <a:lnTo>
                    <a:pt x="2753" y="1012310"/>
                  </a:lnTo>
                  <a:lnTo>
                    <a:pt x="11014" y="1084095"/>
                  </a:lnTo>
                  <a:lnTo>
                    <a:pt x="24783" y="1155196"/>
                  </a:lnTo>
                  <a:lnTo>
                    <a:pt x="44059" y="1225270"/>
                  </a:lnTo>
                  <a:lnTo>
                    <a:pt x="68843" y="1293975"/>
                  </a:lnTo>
                  <a:lnTo>
                    <a:pt x="99134" y="1360969"/>
                  </a:lnTo>
                  <a:lnTo>
                    <a:pt x="134933" y="1425911"/>
                  </a:lnTo>
                  <a:lnTo>
                    <a:pt x="176239" y="1488456"/>
                  </a:lnTo>
                  <a:lnTo>
                    <a:pt x="223052" y="1548265"/>
                  </a:lnTo>
                  <a:lnTo>
                    <a:pt x="275373" y="1604993"/>
                  </a:lnTo>
                  <a:lnTo>
                    <a:pt x="332102" y="1657314"/>
                  </a:lnTo>
                  <a:lnTo>
                    <a:pt x="391911" y="1704128"/>
                  </a:lnTo>
                  <a:lnTo>
                    <a:pt x="454457" y="1745434"/>
                  </a:lnTo>
                  <a:lnTo>
                    <a:pt x="519398" y="1781232"/>
                  </a:lnTo>
                  <a:lnTo>
                    <a:pt x="586392" y="1811523"/>
                  </a:lnTo>
                  <a:lnTo>
                    <a:pt x="655098" y="1836307"/>
                  </a:lnTo>
                  <a:lnTo>
                    <a:pt x="725172" y="1855583"/>
                  </a:lnTo>
                  <a:lnTo>
                    <a:pt x="796273" y="1869352"/>
                  </a:lnTo>
                  <a:lnTo>
                    <a:pt x="868058" y="1877613"/>
                  </a:lnTo>
                  <a:lnTo>
                    <a:pt x="940185" y="1880367"/>
                  </a:lnTo>
                  <a:lnTo>
                    <a:pt x="1012312" y="1877613"/>
                  </a:lnTo>
                  <a:lnTo>
                    <a:pt x="1084097" y="1869352"/>
                  </a:lnTo>
                  <a:lnTo>
                    <a:pt x="1155197" y="1855583"/>
                  </a:lnTo>
                  <a:lnTo>
                    <a:pt x="1225271" y="1836307"/>
                  </a:lnTo>
                  <a:lnTo>
                    <a:pt x="1293976" y="1811523"/>
                  </a:lnTo>
                  <a:lnTo>
                    <a:pt x="1360970" y="1781232"/>
                  </a:lnTo>
                  <a:lnTo>
                    <a:pt x="1425911" y="1745434"/>
                  </a:lnTo>
                  <a:lnTo>
                    <a:pt x="1488456" y="1704128"/>
                  </a:lnTo>
                  <a:lnTo>
                    <a:pt x="1548264" y="1657314"/>
                  </a:lnTo>
                  <a:lnTo>
                    <a:pt x="1604992" y="1604993"/>
                  </a:lnTo>
                  <a:lnTo>
                    <a:pt x="1657313" y="1548265"/>
                  </a:lnTo>
                  <a:lnTo>
                    <a:pt x="1704126" y="1488456"/>
                  </a:lnTo>
                  <a:lnTo>
                    <a:pt x="1745432" y="1425911"/>
                  </a:lnTo>
                  <a:lnTo>
                    <a:pt x="1781230" y="1360969"/>
                  </a:lnTo>
                  <a:lnTo>
                    <a:pt x="1811521" y="1293975"/>
                  </a:lnTo>
                  <a:lnTo>
                    <a:pt x="1836304" y="1225270"/>
                  </a:lnTo>
                  <a:lnTo>
                    <a:pt x="1855580" y="1155196"/>
                  </a:lnTo>
                  <a:lnTo>
                    <a:pt x="1869349" y="1084095"/>
                  </a:lnTo>
                  <a:lnTo>
                    <a:pt x="1877610" y="1012310"/>
                  </a:lnTo>
                  <a:lnTo>
                    <a:pt x="1880363" y="940183"/>
                  </a:lnTo>
                  <a:lnTo>
                    <a:pt x="1877610" y="868056"/>
                  </a:lnTo>
                  <a:lnTo>
                    <a:pt x="1869349" y="796271"/>
                  </a:lnTo>
                  <a:lnTo>
                    <a:pt x="1855580" y="725171"/>
                  </a:lnTo>
                  <a:lnTo>
                    <a:pt x="1836304" y="655097"/>
                  </a:lnTo>
                  <a:lnTo>
                    <a:pt x="1811521" y="586391"/>
                  </a:lnTo>
                  <a:lnTo>
                    <a:pt x="1781230" y="519397"/>
                  </a:lnTo>
                  <a:lnTo>
                    <a:pt x="1745432" y="454456"/>
                  </a:lnTo>
                  <a:lnTo>
                    <a:pt x="1704126" y="391910"/>
                  </a:lnTo>
                  <a:lnTo>
                    <a:pt x="1657313" y="332102"/>
                  </a:lnTo>
                  <a:lnTo>
                    <a:pt x="1604992" y="275373"/>
                  </a:lnTo>
                  <a:lnTo>
                    <a:pt x="1548264" y="223052"/>
                  </a:lnTo>
                  <a:lnTo>
                    <a:pt x="1488456" y="176239"/>
                  </a:lnTo>
                  <a:lnTo>
                    <a:pt x="1425911" y="134933"/>
                  </a:lnTo>
                  <a:lnTo>
                    <a:pt x="1360970" y="99134"/>
                  </a:lnTo>
                  <a:lnTo>
                    <a:pt x="1293976" y="68843"/>
                  </a:lnTo>
                  <a:lnTo>
                    <a:pt x="1225271" y="44059"/>
                  </a:lnTo>
                  <a:lnTo>
                    <a:pt x="1155197" y="24783"/>
                  </a:lnTo>
                  <a:lnTo>
                    <a:pt x="1084097" y="11014"/>
                  </a:lnTo>
                  <a:lnTo>
                    <a:pt x="1012312" y="2753"/>
                  </a:lnTo>
                  <a:lnTo>
                    <a:pt x="940185" y="0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 dirty="0">
                <a:latin typeface="+mn-lt"/>
              </a:endParaRPr>
            </a:p>
          </p:txBody>
        </p: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7457" y="3844395"/>
            <a:ext cx="1314000" cy="1103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168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56">
          <p15:clr>
            <a:srgbClr val="FBAE40"/>
          </p15:clr>
        </p15:guide>
        <p15:guide id="2" orient="horz" pos="1620">
          <p15:clr>
            <a:srgbClr val="FBAE40"/>
          </p15:clr>
        </p15:guide>
        <p15:guide id="3" orient="horz" pos="2969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060573" y="-982"/>
            <a:ext cx="6083428" cy="514448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858250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472501" y="2405787"/>
            <a:ext cx="116035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400" dirty="0">
                <a:solidFill>
                  <a:srgbClr val="FFFFFF"/>
                </a:solidFill>
                <a:sym typeface="+mn-lt"/>
              </a:rPr>
              <a:t>Agenda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2" name="Group 11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707929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041109" y="3518390"/>
            <a:ext cx="697003" cy="746906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15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1882112" y="3518390"/>
            <a:ext cx="1177614" cy="1101132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72500" y="680398"/>
            <a:ext cx="2586600" cy="91535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 dirty="0">
              <a:solidFill>
                <a:srgbClr val="3279E5"/>
              </a:solidFill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824407" y="836562"/>
            <a:ext cx="1882247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4050" dirty="0">
                <a:solidFill>
                  <a:srgbClr val="3279E5"/>
                </a:solidFill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60694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963557" y="1071098"/>
            <a:ext cx="710754" cy="71075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963900" y="2000700"/>
            <a:ext cx="7214400" cy="24003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50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1620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472500" y="467100"/>
            <a:ext cx="53924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dirty="0">
                <a:solidFill>
                  <a:srgbClr val="3279E5"/>
                </a:solidFill>
                <a:latin typeface="Trebuchet M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464174" y="904500"/>
            <a:ext cx="8682228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4826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060573" y="-982"/>
            <a:ext cx="6083428" cy="5144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9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8858250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+mn-lt"/>
              </a:rPr>
              <a:t>Reskilling initiatives charter - Bhanu meeting - v9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72501" y="2446609"/>
            <a:ext cx="870785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1800" dirty="0">
                <a:solidFill>
                  <a:srgbClr val="FFFFFF"/>
                </a:solidFill>
                <a:sym typeface="+mn-lt"/>
              </a:rPr>
              <a:t>Agenda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3" name="Group 12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247261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1956406"/>
            <a:ext cx="2114550" cy="127541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525"/>
              </a:spcAft>
            </a:pPr>
            <a:r>
              <a:rPr lang="en-US" sz="4050" dirty="0">
                <a:solidFill>
                  <a:srgbClr val="0E3570"/>
                </a:solidFill>
                <a:sym typeface="+mn-lt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858250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0061"/>
            <a:ext cx="1023938" cy="253722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oup 10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12" name="Group 11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19222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slideLayout" Target="../slideLayouts/slideLayout56.xml"/><Relationship Id="rId39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51.xml"/><Relationship Id="rId34" Type="http://schemas.openxmlformats.org/officeDocument/2006/relationships/slideLayout" Target="../slideLayouts/slideLayout64.xml"/><Relationship Id="rId42" Type="http://schemas.openxmlformats.org/officeDocument/2006/relationships/slideLayout" Target="../slideLayouts/slideLayout72.xml"/><Relationship Id="rId47" Type="http://schemas.openxmlformats.org/officeDocument/2006/relationships/slideLayout" Target="../slideLayouts/slideLayout77.xml"/><Relationship Id="rId50" Type="http://schemas.openxmlformats.org/officeDocument/2006/relationships/slideLayout" Target="../slideLayouts/slideLayout80.xml"/><Relationship Id="rId55" Type="http://schemas.openxmlformats.org/officeDocument/2006/relationships/slideLayout" Target="../slideLayouts/slideLayout85.xml"/><Relationship Id="rId63" Type="http://schemas.openxmlformats.org/officeDocument/2006/relationships/slideLayout" Target="../slideLayouts/slideLayout93.xml"/><Relationship Id="rId68" Type="http://schemas.openxmlformats.org/officeDocument/2006/relationships/tags" Target="../tags/tag1.xml"/><Relationship Id="rId7" Type="http://schemas.openxmlformats.org/officeDocument/2006/relationships/slideLayout" Target="../slideLayouts/slideLayout37.xml"/><Relationship Id="rId71" Type="http://schemas.openxmlformats.org/officeDocument/2006/relationships/image" Target="../media/image6.emf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9" Type="http://schemas.openxmlformats.org/officeDocument/2006/relationships/slideLayout" Target="../slideLayouts/slideLayout59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32" Type="http://schemas.openxmlformats.org/officeDocument/2006/relationships/slideLayout" Target="../slideLayouts/slideLayout62.xml"/><Relationship Id="rId37" Type="http://schemas.openxmlformats.org/officeDocument/2006/relationships/slideLayout" Target="../slideLayouts/slideLayout67.xml"/><Relationship Id="rId40" Type="http://schemas.openxmlformats.org/officeDocument/2006/relationships/slideLayout" Target="../slideLayouts/slideLayout70.xml"/><Relationship Id="rId45" Type="http://schemas.openxmlformats.org/officeDocument/2006/relationships/slideLayout" Target="../slideLayouts/slideLayout75.xml"/><Relationship Id="rId53" Type="http://schemas.openxmlformats.org/officeDocument/2006/relationships/slideLayout" Target="../slideLayouts/slideLayout83.xml"/><Relationship Id="rId58" Type="http://schemas.openxmlformats.org/officeDocument/2006/relationships/slideLayout" Target="../slideLayouts/slideLayout88.xml"/><Relationship Id="rId66" Type="http://schemas.openxmlformats.org/officeDocument/2006/relationships/theme" Target="../theme/theme2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slideLayout" Target="../slideLayouts/slideLayout58.xml"/><Relationship Id="rId36" Type="http://schemas.openxmlformats.org/officeDocument/2006/relationships/slideLayout" Target="../slideLayouts/slideLayout66.xml"/><Relationship Id="rId49" Type="http://schemas.openxmlformats.org/officeDocument/2006/relationships/slideLayout" Target="../slideLayouts/slideLayout79.xml"/><Relationship Id="rId57" Type="http://schemas.openxmlformats.org/officeDocument/2006/relationships/slideLayout" Target="../slideLayouts/slideLayout87.xml"/><Relationship Id="rId61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31" Type="http://schemas.openxmlformats.org/officeDocument/2006/relationships/slideLayout" Target="../slideLayouts/slideLayout61.xml"/><Relationship Id="rId44" Type="http://schemas.openxmlformats.org/officeDocument/2006/relationships/slideLayout" Target="../slideLayouts/slideLayout74.xml"/><Relationship Id="rId52" Type="http://schemas.openxmlformats.org/officeDocument/2006/relationships/slideLayout" Target="../slideLayouts/slideLayout82.xml"/><Relationship Id="rId60" Type="http://schemas.openxmlformats.org/officeDocument/2006/relationships/slideLayout" Target="../slideLayouts/slideLayout90.xml"/><Relationship Id="rId65" Type="http://schemas.openxmlformats.org/officeDocument/2006/relationships/slideLayout" Target="../slideLayouts/slideLayout95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slideLayout" Target="../slideLayouts/slideLayout57.xml"/><Relationship Id="rId30" Type="http://schemas.openxmlformats.org/officeDocument/2006/relationships/slideLayout" Target="../slideLayouts/slideLayout60.xml"/><Relationship Id="rId35" Type="http://schemas.openxmlformats.org/officeDocument/2006/relationships/slideLayout" Target="../slideLayouts/slideLayout65.xml"/><Relationship Id="rId43" Type="http://schemas.openxmlformats.org/officeDocument/2006/relationships/slideLayout" Target="../slideLayouts/slideLayout73.xml"/><Relationship Id="rId48" Type="http://schemas.openxmlformats.org/officeDocument/2006/relationships/slideLayout" Target="../slideLayouts/slideLayout78.xml"/><Relationship Id="rId56" Type="http://schemas.openxmlformats.org/officeDocument/2006/relationships/slideLayout" Target="../slideLayouts/slideLayout86.xml"/><Relationship Id="rId64" Type="http://schemas.openxmlformats.org/officeDocument/2006/relationships/slideLayout" Target="../slideLayouts/slideLayout94.xml"/><Relationship Id="rId69" Type="http://schemas.openxmlformats.org/officeDocument/2006/relationships/tags" Target="../tags/tag2.xml"/><Relationship Id="rId8" Type="http://schemas.openxmlformats.org/officeDocument/2006/relationships/slideLayout" Target="../slideLayouts/slideLayout38.xml"/><Relationship Id="rId51" Type="http://schemas.openxmlformats.org/officeDocument/2006/relationships/slideLayout" Target="../slideLayouts/slideLayout81.xml"/><Relationship Id="rId3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33" Type="http://schemas.openxmlformats.org/officeDocument/2006/relationships/slideLayout" Target="../slideLayouts/slideLayout63.xml"/><Relationship Id="rId38" Type="http://schemas.openxmlformats.org/officeDocument/2006/relationships/slideLayout" Target="../slideLayouts/slideLayout68.xml"/><Relationship Id="rId46" Type="http://schemas.openxmlformats.org/officeDocument/2006/relationships/slideLayout" Target="../slideLayouts/slideLayout76.xml"/><Relationship Id="rId59" Type="http://schemas.openxmlformats.org/officeDocument/2006/relationships/slideLayout" Target="../slideLayouts/slideLayout89.xml"/><Relationship Id="rId67" Type="http://schemas.openxmlformats.org/officeDocument/2006/relationships/vmlDrawing" Target="../drawings/vmlDrawing1.vml"/><Relationship Id="rId20" Type="http://schemas.openxmlformats.org/officeDocument/2006/relationships/slideLayout" Target="../slideLayouts/slideLayout50.xml"/><Relationship Id="rId41" Type="http://schemas.openxmlformats.org/officeDocument/2006/relationships/slideLayout" Target="../slideLayouts/slideLayout71.xml"/><Relationship Id="rId54" Type="http://schemas.openxmlformats.org/officeDocument/2006/relationships/slideLayout" Target="../slideLayouts/slideLayout84.xml"/><Relationship Id="rId62" Type="http://schemas.openxmlformats.org/officeDocument/2006/relationships/slideLayout" Target="../slideLayouts/slideLayout92.xml"/><Relationship Id="rId7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019" y="256032"/>
            <a:ext cx="3200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lvl="0" eaLnBrk="0" hangingPunct="0">
              <a:spcBef>
                <a:spcPct val="20000"/>
              </a:spcBef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9019" y="1248937"/>
            <a:ext cx="8627806" cy="3484555"/>
          </a:xfrm>
          <a:prstGeom prst="rect">
            <a:avLst/>
          </a:prstGeom>
        </p:spPr>
        <p:txBody>
          <a:bodyPr lIns="45720" tIns="45720" rIns="45720" bIns="4572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MSIPCMccf84f4bae55a4055e27944e" descr="{&quot;HashCode&quot;:-1477458873,&quot;Placement&quot;:&quot;Footer&quot;,&quot;Top&quot;:389.104645,&quot;Left&quot;:300.843231,&quot;SlideWidth&quot;:720,&quot;SlideHeight&quot;:405}"/>
          <p:cNvSpPr txBox="1"/>
          <p:nvPr userDrawn="1"/>
        </p:nvSpPr>
        <p:spPr>
          <a:xfrm>
            <a:off x="3820709" y="4941629"/>
            <a:ext cx="1502583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itivity: Internal &amp; Restricted</a:t>
            </a:r>
            <a:endParaRPr lang="en-US" sz="7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8582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9" r:id="rId1"/>
    <p:sldLayoutId id="2147484480" r:id="rId2"/>
    <p:sldLayoutId id="2147484481" r:id="rId3"/>
    <p:sldLayoutId id="2147484482" r:id="rId4"/>
    <p:sldLayoutId id="2147484483" r:id="rId5"/>
    <p:sldLayoutId id="2147484484" r:id="rId6"/>
    <p:sldLayoutId id="2147484485" r:id="rId7"/>
    <p:sldLayoutId id="2147484486" r:id="rId8"/>
    <p:sldLayoutId id="2147484487" r:id="rId9"/>
    <p:sldLayoutId id="2147484488" r:id="rId10"/>
    <p:sldLayoutId id="2147484489" r:id="rId11"/>
    <p:sldLayoutId id="2147484490" r:id="rId12"/>
    <p:sldLayoutId id="2147484491" r:id="rId13"/>
    <p:sldLayoutId id="2147484492" r:id="rId14"/>
    <p:sldLayoutId id="2147484493" r:id="rId15"/>
    <p:sldLayoutId id="2147484494" r:id="rId16"/>
    <p:sldLayoutId id="2147484495" r:id="rId17"/>
    <p:sldLayoutId id="2147484496" r:id="rId18"/>
    <p:sldLayoutId id="2147484497" r:id="rId19"/>
    <p:sldLayoutId id="2147484498" r:id="rId20"/>
    <p:sldLayoutId id="2147484499" r:id="rId21"/>
    <p:sldLayoutId id="2147484500" r:id="rId22"/>
    <p:sldLayoutId id="2147484501" r:id="rId23"/>
    <p:sldLayoutId id="2147484502" r:id="rId24"/>
    <p:sldLayoutId id="2147484503" r:id="rId25"/>
    <p:sldLayoutId id="2147484504" r:id="rId26"/>
    <p:sldLayoutId id="2147484505" r:id="rId27"/>
    <p:sldLayoutId id="2147484506" r:id="rId28"/>
    <p:sldLayoutId id="2147484507" r:id="rId29"/>
    <p:sldLayoutId id="2147484508" r:id="rId30"/>
  </p:sldLayoutIdLst>
  <p:hf hdr="0"/>
  <p:txStyles>
    <p:titleStyle>
      <a:lvl1pPr marL="0" algn="l" defTabSz="457200" rtl="0" eaLnBrk="1" latinLnBrk="0" hangingPunct="1">
        <a:lnSpc>
          <a:spcPct val="98000"/>
        </a:lnSpc>
        <a:spcBef>
          <a:spcPct val="0"/>
        </a:spcBef>
        <a:buNone/>
        <a:tabLst>
          <a:tab pos="457200" algn="l"/>
        </a:tabLst>
        <a:defRPr lang="en-US" sz="2600" b="1" u="sng" kern="1200" dirty="0">
          <a:solidFill>
            <a:schemeClr val="tx2"/>
          </a:solidFill>
          <a:latin typeface="+mj-lt"/>
          <a:ea typeface="+mn-ea"/>
          <a:cs typeface="Arial"/>
        </a:defRPr>
      </a:lvl1pPr>
    </p:titleStyle>
    <p:bodyStyle>
      <a:lvl1pPr marL="231775" indent="-231775" algn="l" defTabSz="457200" rtl="0" eaLnBrk="1" latinLnBrk="0" hangingPunct="1">
        <a:spcBef>
          <a:spcPts val="600"/>
        </a:spcBef>
        <a:buClr>
          <a:srgbClr val="00B0F0"/>
        </a:buClr>
        <a:buFont typeface="Arial" panose="020B0604020202020204" pitchFamily="34" charset="0"/>
        <a:buChar char="•"/>
        <a:defRPr kumimoji="0" lang="en-US" sz="2000" b="0" i="0" u="none" strike="noStrike" kern="1200" cap="none" spc="0" normalizeH="0" baseline="0" noProof="0" dirty="0" smtClean="0">
          <a:ln>
            <a:noFill/>
          </a:ln>
          <a:solidFill>
            <a:schemeClr val="accent2"/>
          </a:solidFill>
          <a:effectLst/>
          <a:uLnTx/>
          <a:uFillTx/>
          <a:latin typeface="+mn-lt"/>
          <a:ea typeface="+mn-ea"/>
          <a:cs typeface="Arial"/>
        </a:defRPr>
      </a:lvl1pPr>
      <a:lvl2pPr marL="742950" indent="-285750" algn="l" defTabSz="457200" rtl="0" eaLnBrk="1" latinLnBrk="0" hangingPunct="1">
        <a:spcBef>
          <a:spcPts val="600"/>
        </a:spcBef>
        <a:buClr>
          <a:srgbClr val="00B0F0"/>
        </a:buClr>
        <a:buFont typeface="Arial" charset="0"/>
        <a:buChar char="•"/>
        <a:defRPr kumimoji="0" lang="en-US" sz="1800" b="0" i="0" u="none" strike="noStrike" kern="1200" cap="none" spc="0" normalizeH="0" baseline="0" noProof="0" dirty="0" smtClean="0">
          <a:ln>
            <a:noFill/>
          </a:ln>
          <a:solidFill>
            <a:schemeClr val="accent2"/>
          </a:solidFill>
          <a:effectLst/>
          <a:uLnTx/>
          <a:uFillTx/>
          <a:latin typeface="+mn-lt"/>
          <a:ea typeface="+mn-ea"/>
          <a:cs typeface="+mn-cs"/>
        </a:defRPr>
      </a:lvl2pPr>
      <a:lvl3pPr marL="1085850" indent="-171450" algn="l" defTabSz="457200" rtl="0" eaLnBrk="1" latinLnBrk="0" hangingPunct="1">
        <a:spcBef>
          <a:spcPts val="600"/>
        </a:spcBef>
        <a:buClr>
          <a:srgbClr val="00B0F0"/>
        </a:buClr>
        <a:buFont typeface="Arial" charset="0"/>
        <a:buChar char="•"/>
        <a:defRPr kumimoji="0" lang="en-US" sz="1200" b="0" i="0" u="none" strike="noStrike" kern="1200" cap="none" spc="0" normalizeH="0" baseline="0" noProof="0" dirty="0" smtClean="0">
          <a:ln>
            <a:noFill/>
          </a:ln>
          <a:solidFill>
            <a:schemeClr val="accent2"/>
          </a:solidFill>
          <a:effectLst/>
          <a:uLnTx/>
          <a:uFillTx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ts val="600"/>
        </a:spcBef>
        <a:buClr>
          <a:srgbClr val="00B0F0"/>
        </a:buClr>
        <a:buFont typeface="Arial" charset="0"/>
        <a:buChar char="•"/>
        <a:defRPr kumimoji="0" lang="en-US" sz="1100" b="0" i="0" u="none" strike="noStrike" kern="1200" cap="none" spc="0" normalizeH="0" baseline="0" noProof="0" dirty="0" smtClean="0">
          <a:ln>
            <a:noFill/>
          </a:ln>
          <a:solidFill>
            <a:schemeClr val="accent2"/>
          </a:solidFill>
          <a:effectLst/>
          <a:uLnTx/>
          <a:uFillTx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ts val="600"/>
        </a:spcBef>
        <a:buClr>
          <a:srgbClr val="00B0F0"/>
        </a:buClr>
        <a:buFont typeface="Arial" charset="0"/>
        <a:buChar char="•"/>
        <a:defRPr kumimoji="0" lang="en-US" sz="1050" b="0" i="0" u="none" strike="noStrike" kern="1200" cap="none" spc="0" normalizeH="0" baseline="0" noProof="0" dirty="0">
          <a:ln>
            <a:noFill/>
          </a:ln>
          <a:solidFill>
            <a:schemeClr val="accent2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8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6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840156" y="4956603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+mn-lt"/>
              </a:rPr>
              <a:pPr algn="ctr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72500" y="467101"/>
            <a:ext cx="8200013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72500" y="1369219"/>
            <a:ext cx="8200013" cy="32635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-159642" y="-155461"/>
            <a:ext cx="9433385" cy="5463374"/>
            <a:chOff x="-212857" y="-207281"/>
            <a:chExt cx="12577847" cy="7284498"/>
          </a:xfrm>
        </p:grpSpPr>
        <p:grpSp>
          <p:nvGrpSpPr>
            <p:cNvPr id="21" name="Group 20"/>
            <p:cNvGrpSpPr/>
            <p:nvPr userDrawn="1"/>
          </p:nvGrpSpPr>
          <p:grpSpPr>
            <a:xfrm>
              <a:off x="534228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81" name="Straight Connector 18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/>
            <p:cNvGrpSpPr/>
            <p:nvPr userDrawn="1"/>
          </p:nvGrpSpPr>
          <p:grpSpPr>
            <a:xfrm>
              <a:off x="4720784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9" name="Straight Connector 17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 userDrawn="1"/>
          </p:nvGrpSpPr>
          <p:grpSpPr>
            <a:xfrm>
              <a:off x="409928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7" name="Straight Connector 1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3"/>
            <p:cNvGrpSpPr/>
            <p:nvPr userDrawn="1"/>
          </p:nvGrpSpPr>
          <p:grpSpPr>
            <a:xfrm>
              <a:off x="347777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5" name="Straight Connector 17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 userDrawn="1"/>
          </p:nvGrpSpPr>
          <p:grpSpPr>
            <a:xfrm>
              <a:off x="2856276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3" name="Straight Connector 17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/>
            <p:cNvGrpSpPr/>
            <p:nvPr userDrawn="1"/>
          </p:nvGrpSpPr>
          <p:grpSpPr>
            <a:xfrm>
              <a:off x="223477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71" name="Straight Connector 17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 userDrawn="1"/>
          </p:nvGrpSpPr>
          <p:grpSpPr>
            <a:xfrm>
              <a:off x="99176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9" name="Straight Connector 16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/>
            <p:cNvGrpSpPr/>
            <p:nvPr userDrawn="1"/>
          </p:nvGrpSpPr>
          <p:grpSpPr>
            <a:xfrm>
              <a:off x="161327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7" name="Straight Connector 16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8"/>
            <p:cNvGrpSpPr/>
            <p:nvPr userDrawn="1"/>
          </p:nvGrpSpPr>
          <p:grpSpPr>
            <a:xfrm>
              <a:off x="969280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5" name="Straight Connector 16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 userDrawn="1"/>
          </p:nvGrpSpPr>
          <p:grpSpPr>
            <a:xfrm>
              <a:off x="9071303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3" name="Straight Connector 16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8449800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61" name="Straight Connector 16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7828297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7206795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7" name="Straight Connector 15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6585292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5" name="Straight Connector 15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5963789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3" name="Straight Connector 15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10935811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51" name="Straight Connector 15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/>
            <p:cNvGrpSpPr/>
            <p:nvPr userDrawn="1"/>
          </p:nvGrpSpPr>
          <p:grpSpPr>
            <a:xfrm>
              <a:off x="10314308" y="-207281"/>
              <a:ext cx="203200" cy="162820"/>
              <a:chOff x="7983415" y="6582508"/>
              <a:chExt cx="152400" cy="486507"/>
            </a:xfrm>
          </p:grpSpPr>
          <p:cxnSp>
            <p:nvCxnSpPr>
              <p:cNvPr id="149" name="Straight Connector 14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 userDrawn="1"/>
          </p:nvGrpSpPr>
          <p:grpSpPr>
            <a:xfrm>
              <a:off x="534228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7" name="Straight Connector 14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 userDrawn="1"/>
          </p:nvGrpSpPr>
          <p:grpSpPr>
            <a:xfrm>
              <a:off x="4720784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5" name="Straight Connector 14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/>
            <p:cNvGrpSpPr/>
            <p:nvPr userDrawn="1"/>
          </p:nvGrpSpPr>
          <p:grpSpPr>
            <a:xfrm>
              <a:off x="409928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3" name="Straight Connector 1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 userDrawn="1"/>
          </p:nvGrpSpPr>
          <p:grpSpPr>
            <a:xfrm>
              <a:off x="347777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41" name="Straight Connector 1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/>
            <p:cNvGrpSpPr/>
            <p:nvPr userDrawn="1"/>
          </p:nvGrpSpPr>
          <p:grpSpPr>
            <a:xfrm>
              <a:off x="2856276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9" name="Straight Connector 1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42"/>
            <p:cNvGrpSpPr/>
            <p:nvPr userDrawn="1"/>
          </p:nvGrpSpPr>
          <p:grpSpPr>
            <a:xfrm>
              <a:off x="223477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7" name="Straight Connector 13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43"/>
            <p:cNvGrpSpPr/>
            <p:nvPr userDrawn="1"/>
          </p:nvGrpSpPr>
          <p:grpSpPr>
            <a:xfrm>
              <a:off x="99176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5" name="Straight Connector 13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/>
            <p:cNvGrpSpPr/>
            <p:nvPr userDrawn="1"/>
          </p:nvGrpSpPr>
          <p:grpSpPr>
            <a:xfrm>
              <a:off x="161327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3" name="Straight Connector 13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 userDrawn="1"/>
          </p:nvGrpSpPr>
          <p:grpSpPr>
            <a:xfrm>
              <a:off x="969280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31" name="Straight Connector 13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 userDrawn="1"/>
          </p:nvGrpSpPr>
          <p:grpSpPr>
            <a:xfrm>
              <a:off x="9071303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9" name="Straight Connector 1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/>
            <p:cNvGrpSpPr/>
            <p:nvPr userDrawn="1"/>
          </p:nvGrpSpPr>
          <p:grpSpPr>
            <a:xfrm>
              <a:off x="8449800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7" name="Straight Connector 12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/>
            <p:cNvGrpSpPr/>
            <p:nvPr userDrawn="1"/>
          </p:nvGrpSpPr>
          <p:grpSpPr>
            <a:xfrm>
              <a:off x="7828297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5" name="Straight Connector 12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 userDrawn="1"/>
          </p:nvGrpSpPr>
          <p:grpSpPr>
            <a:xfrm>
              <a:off x="7206795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/>
            <p:cNvGrpSpPr/>
            <p:nvPr userDrawn="1"/>
          </p:nvGrpSpPr>
          <p:grpSpPr>
            <a:xfrm>
              <a:off x="6585292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/>
            <p:cNvGrpSpPr/>
            <p:nvPr userDrawn="1"/>
          </p:nvGrpSpPr>
          <p:grpSpPr>
            <a:xfrm>
              <a:off x="5963789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/>
            <p:cNvGrpSpPr/>
            <p:nvPr userDrawn="1"/>
          </p:nvGrpSpPr>
          <p:grpSpPr>
            <a:xfrm>
              <a:off x="10935811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>
              <a:off x="10314308" y="6914397"/>
              <a:ext cx="203200" cy="162820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54"/>
            <p:cNvGrpSpPr/>
            <p:nvPr userDrawn="1"/>
          </p:nvGrpSpPr>
          <p:grpSpPr>
            <a:xfrm rot="5400000">
              <a:off x="-233045" y="6073731"/>
              <a:ext cx="203200" cy="162820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/>
            <p:cNvGrpSpPr/>
            <p:nvPr userDrawn="1"/>
          </p:nvGrpSpPr>
          <p:grpSpPr>
            <a:xfrm rot="5400000">
              <a:off x="-233045" y="5446833"/>
              <a:ext cx="203200" cy="162820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 rot="5400000">
              <a:off x="-233045" y="4819934"/>
              <a:ext cx="203200" cy="162820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57"/>
            <p:cNvGrpSpPr/>
            <p:nvPr userDrawn="1"/>
          </p:nvGrpSpPr>
          <p:grpSpPr>
            <a:xfrm rot="5400000">
              <a:off x="-233045" y="4193035"/>
              <a:ext cx="203200" cy="162820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 userDrawn="1"/>
          </p:nvGrpSpPr>
          <p:grpSpPr>
            <a:xfrm rot="5400000">
              <a:off x="-233045" y="3566137"/>
              <a:ext cx="203200" cy="162820"/>
              <a:chOff x="7983415" y="6582508"/>
              <a:chExt cx="152400" cy="486507"/>
            </a:xfrm>
          </p:grpSpPr>
          <p:cxnSp>
            <p:nvCxnSpPr>
              <p:cNvPr id="105" name="Straight Connector 10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/>
            <p:cNvGrpSpPr/>
            <p:nvPr userDrawn="1"/>
          </p:nvGrpSpPr>
          <p:grpSpPr>
            <a:xfrm rot="5400000">
              <a:off x="-233045" y="2939238"/>
              <a:ext cx="203200" cy="162820"/>
              <a:chOff x="7983415" y="6582508"/>
              <a:chExt cx="152400" cy="486507"/>
            </a:xfrm>
          </p:grpSpPr>
          <p:cxnSp>
            <p:nvCxnSpPr>
              <p:cNvPr id="103" name="Straight Connector 10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 rot="5400000">
              <a:off x="-233045" y="2312339"/>
              <a:ext cx="203200" cy="162820"/>
              <a:chOff x="7983415" y="6582508"/>
              <a:chExt cx="152400" cy="486507"/>
            </a:xfrm>
          </p:grpSpPr>
          <p:cxnSp>
            <p:nvCxnSpPr>
              <p:cNvPr id="101" name="Straight Connector 10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75F83E5F-1584-418E-AB32-686B252559C4}"/>
                </a:ext>
              </a:extLst>
            </p:cNvPr>
            <p:cNvGrpSpPr/>
            <p:nvPr userDrawn="1"/>
          </p:nvGrpSpPr>
          <p:grpSpPr>
            <a:xfrm rot="5400000">
              <a:off x="-233047" y="644663"/>
              <a:ext cx="203200" cy="162820"/>
              <a:chOff x="7983415" y="6582508"/>
              <a:chExt cx="152400" cy="486507"/>
            </a:xfrm>
          </p:grpSpPr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67B97FE4-6907-4D19-80E2-B08795F8E26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657A6D41-0871-4DCF-AB73-960B92AC3FB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A52D6863-EDD4-4B25-AC64-D536AEC5F7D3}"/>
                </a:ext>
              </a:extLst>
            </p:cNvPr>
            <p:cNvGrpSpPr/>
            <p:nvPr userDrawn="1"/>
          </p:nvGrpSpPr>
          <p:grpSpPr>
            <a:xfrm rot="5400000">
              <a:off x="-233047" y="1898461"/>
              <a:ext cx="203200" cy="162820"/>
              <a:chOff x="7983415" y="6582508"/>
              <a:chExt cx="152400" cy="486507"/>
            </a:xfrm>
          </p:grpSpPr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F43FA92A-8FD9-4BAD-B44B-7432A014D55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4A3D7BA3-06F2-441F-A966-E0C0FE008D4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943A3299-C348-4767-B606-C5FA8A936C27}"/>
                </a:ext>
              </a:extLst>
            </p:cNvPr>
            <p:cNvGrpSpPr/>
            <p:nvPr userDrawn="1"/>
          </p:nvGrpSpPr>
          <p:grpSpPr>
            <a:xfrm rot="5400000">
              <a:off x="-233047" y="1271562"/>
              <a:ext cx="203200" cy="162820"/>
              <a:chOff x="7983415" y="6582508"/>
              <a:chExt cx="152400" cy="48650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72100A1E-28D5-443B-A19E-2310B6C2174C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098A4DB2-1491-46C6-827C-8B62FD030E02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FE2B4BD0-6636-4728-8B3D-ADEC99C16D31}"/>
                </a:ext>
              </a:extLst>
            </p:cNvPr>
            <p:cNvGrpSpPr/>
            <p:nvPr userDrawn="1"/>
          </p:nvGrpSpPr>
          <p:grpSpPr>
            <a:xfrm rot="5400000">
              <a:off x="12181980" y="6073733"/>
              <a:ext cx="203200" cy="162820"/>
              <a:chOff x="7983415" y="6582508"/>
              <a:chExt cx="152400" cy="486507"/>
            </a:xfrm>
          </p:grpSpPr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0AB60D28-117E-409C-A136-1DBF60BA90C7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2641FD56-909C-4A84-89E3-D29C477936DB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C3E6A41A-8978-4303-93F3-613B03ED32B4}"/>
                </a:ext>
              </a:extLst>
            </p:cNvPr>
            <p:cNvGrpSpPr/>
            <p:nvPr userDrawn="1"/>
          </p:nvGrpSpPr>
          <p:grpSpPr>
            <a:xfrm rot="5400000">
              <a:off x="12181980" y="5446834"/>
              <a:ext cx="203200" cy="162820"/>
              <a:chOff x="7983415" y="6582508"/>
              <a:chExt cx="152400" cy="486507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ECA738CC-4591-4E58-A82B-FC45FA8357A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86AF7FC9-16F9-4DE9-91C2-1EF8443DC4AF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020BBA68-6EF9-47E3-9A06-67C2E90755B7}"/>
                </a:ext>
              </a:extLst>
            </p:cNvPr>
            <p:cNvGrpSpPr/>
            <p:nvPr userDrawn="1"/>
          </p:nvGrpSpPr>
          <p:grpSpPr>
            <a:xfrm rot="5400000">
              <a:off x="12181980" y="4819935"/>
              <a:ext cx="203200" cy="162820"/>
              <a:chOff x="7983415" y="6582508"/>
              <a:chExt cx="152400" cy="486507"/>
            </a:xfrm>
          </p:grpSpPr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7C5CA2BF-F4F8-4264-8B0C-0FADD8246FF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18B65DC1-6F9B-4CC5-A0E2-A7CE9C06DDC8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22819C52-F4FF-4650-A6C1-2AA769CD85C0}"/>
                </a:ext>
              </a:extLst>
            </p:cNvPr>
            <p:cNvGrpSpPr/>
            <p:nvPr userDrawn="1"/>
          </p:nvGrpSpPr>
          <p:grpSpPr>
            <a:xfrm rot="5400000">
              <a:off x="12181980" y="4193037"/>
              <a:ext cx="203200" cy="162820"/>
              <a:chOff x="7983415" y="6582508"/>
              <a:chExt cx="152400" cy="486507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B8BFE1A2-E3DE-4CFE-AD19-CE62C8E7CE72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0EA06674-129F-47B9-8D9E-A95FAC5BE7BC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1EFEB541-DF06-4A78-AD8F-7E7036227BBC}"/>
                </a:ext>
              </a:extLst>
            </p:cNvPr>
            <p:cNvGrpSpPr/>
            <p:nvPr userDrawn="1"/>
          </p:nvGrpSpPr>
          <p:grpSpPr>
            <a:xfrm rot="5400000">
              <a:off x="12181980" y="3566138"/>
              <a:ext cx="203200" cy="162820"/>
              <a:chOff x="7983415" y="6582508"/>
              <a:chExt cx="152400" cy="486507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9FF4647B-0EA6-4DA6-ACF8-D7A297A03A3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95DADA63-7EAC-4ADE-A102-354C00940745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7A476E04-B54A-425D-8F2C-0BDB5D9F7F14}"/>
                </a:ext>
              </a:extLst>
            </p:cNvPr>
            <p:cNvGrpSpPr/>
            <p:nvPr userDrawn="1"/>
          </p:nvGrpSpPr>
          <p:grpSpPr>
            <a:xfrm rot="5400000">
              <a:off x="12181980" y="2939239"/>
              <a:ext cx="203200" cy="162820"/>
              <a:chOff x="7983415" y="6582508"/>
              <a:chExt cx="152400" cy="486507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9167C050-C59D-45D6-AFCB-F337EA4A15E8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A84EE3FF-1DC0-4EE9-A3B5-F3264D8E5674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11B0E357-729C-435E-B819-F50FF8C46F58}"/>
                </a:ext>
              </a:extLst>
            </p:cNvPr>
            <p:cNvGrpSpPr/>
            <p:nvPr userDrawn="1"/>
          </p:nvGrpSpPr>
          <p:grpSpPr>
            <a:xfrm rot="5400000">
              <a:off x="12181980" y="2312341"/>
              <a:ext cx="203200" cy="162820"/>
              <a:chOff x="7983415" y="6582508"/>
              <a:chExt cx="152400" cy="486507"/>
            </a:xfrm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68929BEA-8529-48BC-B27A-6E5314E20613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00CE15E-70BF-48E0-A2C9-4E55ABA16A7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42188881-662D-45BA-BEB2-9498CBC24C3F}"/>
                </a:ext>
              </a:extLst>
            </p:cNvPr>
            <p:cNvGrpSpPr/>
            <p:nvPr userDrawn="1"/>
          </p:nvGrpSpPr>
          <p:grpSpPr>
            <a:xfrm rot="5400000">
              <a:off x="12181980" y="644665"/>
              <a:ext cx="203200" cy="162820"/>
              <a:chOff x="7983415" y="6582508"/>
              <a:chExt cx="152400" cy="486507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222BF96C-1E11-4233-88D5-FB831C9DDDF1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82304F9B-CADD-4E53-BC52-E1178D09F694}"/>
                  </a:ext>
                </a:extLst>
              </p:cNvPr>
              <p:cNvCxnSpPr/>
              <p:nvPr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5C9C9F40-BA73-4F0F-84AE-96B9F7AE2EA9}"/>
                </a:ext>
              </a:extLst>
            </p:cNvPr>
            <p:cNvGrpSpPr/>
            <p:nvPr userDrawn="1"/>
          </p:nvGrpSpPr>
          <p:grpSpPr>
            <a:xfrm rot="5400000">
              <a:off x="12181980" y="1898462"/>
              <a:ext cx="203200" cy="162820"/>
              <a:chOff x="7983415" y="6582508"/>
              <a:chExt cx="152400" cy="486507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E20A52A5-77EB-4BC6-95CB-53DE3C0C3D3A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3879CAFE-BA43-469C-868A-62BDBCF1A8D9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3EE846E6-43A5-4D07-B942-428F70C264D2}"/>
                </a:ext>
              </a:extLst>
            </p:cNvPr>
            <p:cNvGrpSpPr/>
            <p:nvPr userDrawn="1"/>
          </p:nvGrpSpPr>
          <p:grpSpPr>
            <a:xfrm rot="5400000">
              <a:off x="12181980" y="1271563"/>
              <a:ext cx="203200" cy="162820"/>
              <a:chOff x="7983415" y="6582508"/>
              <a:chExt cx="152400" cy="486507"/>
            </a:xfrm>
          </p:grpSpPr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61FE6C1D-8F02-4451-9FAC-6B83F9796C1D}"/>
                  </a:ext>
                </a:extLst>
              </p:cNvPr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73D3BD2C-5025-40B4-BBD1-9C734CBD9061}"/>
                  </a:ext>
                </a:extLst>
              </p:cNvPr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" name="MSIPCMc2cb463fbd8b5db42ee9c90b" descr="{&quot;HashCode&quot;:-1477458873,&quot;Placement&quot;:&quot;Footer&quot;,&quot;Top&quot;:389.104645,&quot;Left&quot;:300.843231,&quot;SlideWidth&quot;:720,&quot;SlideHeight&quot;:405}"/>
          <p:cNvSpPr txBox="1"/>
          <p:nvPr userDrawn="1"/>
        </p:nvSpPr>
        <p:spPr>
          <a:xfrm>
            <a:off x="3820709" y="4941629"/>
            <a:ext cx="1502583" cy="20187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000000"/>
                </a:solidFill>
                <a:latin typeface="Arial" panose="020B0604020202020204" pitchFamily="34" charset="0"/>
              </a:rPr>
              <a:t>Sensitivity: Internal &amp; Restricted</a:t>
            </a:r>
            <a:endParaRPr lang="en-US" sz="70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3693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30" r:id="rId1"/>
    <p:sldLayoutId id="2147485631" r:id="rId2"/>
    <p:sldLayoutId id="2147485632" r:id="rId3"/>
    <p:sldLayoutId id="2147485633" r:id="rId4"/>
    <p:sldLayoutId id="2147485634" r:id="rId5"/>
    <p:sldLayoutId id="2147485635" r:id="rId6"/>
    <p:sldLayoutId id="2147485636" r:id="rId7"/>
    <p:sldLayoutId id="2147485637" r:id="rId8"/>
    <p:sldLayoutId id="2147485638" r:id="rId9"/>
    <p:sldLayoutId id="2147485639" r:id="rId10"/>
    <p:sldLayoutId id="2147485640" r:id="rId11"/>
    <p:sldLayoutId id="2147485641" r:id="rId12"/>
    <p:sldLayoutId id="2147485642" r:id="rId13"/>
    <p:sldLayoutId id="2147485643" r:id="rId14"/>
    <p:sldLayoutId id="2147485644" r:id="rId15"/>
    <p:sldLayoutId id="2147485645" r:id="rId16"/>
    <p:sldLayoutId id="2147485646" r:id="rId17"/>
    <p:sldLayoutId id="2147485647" r:id="rId18"/>
    <p:sldLayoutId id="2147485648" r:id="rId19"/>
    <p:sldLayoutId id="2147485649" r:id="rId20"/>
    <p:sldLayoutId id="2147485650" r:id="rId21"/>
    <p:sldLayoutId id="2147485651" r:id="rId22"/>
    <p:sldLayoutId id="2147485652" r:id="rId23"/>
    <p:sldLayoutId id="2147485653" r:id="rId24"/>
    <p:sldLayoutId id="2147485654" r:id="rId25"/>
    <p:sldLayoutId id="2147485655" r:id="rId26"/>
    <p:sldLayoutId id="2147485656" r:id="rId27"/>
    <p:sldLayoutId id="2147485657" r:id="rId28"/>
    <p:sldLayoutId id="2147485658" r:id="rId29"/>
    <p:sldLayoutId id="2147485659" r:id="rId30"/>
    <p:sldLayoutId id="2147485660" r:id="rId31"/>
    <p:sldLayoutId id="2147485661" r:id="rId32"/>
    <p:sldLayoutId id="2147485662" r:id="rId33"/>
    <p:sldLayoutId id="2147485663" r:id="rId34"/>
    <p:sldLayoutId id="2147485664" r:id="rId35"/>
    <p:sldLayoutId id="2147485665" r:id="rId36"/>
    <p:sldLayoutId id="2147485666" r:id="rId37"/>
    <p:sldLayoutId id="2147485667" r:id="rId38"/>
    <p:sldLayoutId id="2147485668" r:id="rId39"/>
    <p:sldLayoutId id="2147485669" r:id="rId40"/>
    <p:sldLayoutId id="2147485670" r:id="rId41"/>
    <p:sldLayoutId id="2147485671" r:id="rId42"/>
    <p:sldLayoutId id="2147485672" r:id="rId43"/>
    <p:sldLayoutId id="2147485673" r:id="rId44"/>
    <p:sldLayoutId id="2147485674" r:id="rId45"/>
    <p:sldLayoutId id="2147485675" r:id="rId46"/>
    <p:sldLayoutId id="2147485676" r:id="rId47"/>
    <p:sldLayoutId id="2147485677" r:id="rId48"/>
    <p:sldLayoutId id="2147485678" r:id="rId49"/>
    <p:sldLayoutId id="2147485679" r:id="rId50"/>
    <p:sldLayoutId id="2147485680" r:id="rId51"/>
    <p:sldLayoutId id="2147485681" r:id="rId52"/>
    <p:sldLayoutId id="2147485682" r:id="rId53"/>
    <p:sldLayoutId id="2147485683" r:id="rId54"/>
    <p:sldLayoutId id="2147485684" r:id="rId55"/>
    <p:sldLayoutId id="2147485685" r:id="rId56"/>
    <p:sldLayoutId id="2147485686" r:id="rId57"/>
    <p:sldLayoutId id="2147485687" r:id="rId58"/>
    <p:sldLayoutId id="2147485688" r:id="rId59"/>
    <p:sldLayoutId id="2147485689" r:id="rId60"/>
    <p:sldLayoutId id="2147485690" r:id="rId61"/>
    <p:sldLayoutId id="2147485691" r:id="rId62"/>
    <p:sldLayoutId id="2147485692" r:id="rId63"/>
    <p:sldLayoutId id="2147485693" r:id="rId64"/>
    <p:sldLayoutId id="2147485694" r:id="rId6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​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13300" indent="-1296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83400" indent="-1242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Trebuchet MS" panose="020B0603020202020204" pitchFamily="34" charset="0"/>
        <a:buChar char="–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685800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lang="en-US" sz="12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lang="en-US" sz="12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02406" indent="-114300" algn="l" defTabSz="68580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chemeClr val="tx2"/>
        </a:buClr>
        <a:buFont typeface="Arial" panose="020B0604020202020204" pitchFamily="34" charset="0"/>
        <a:buChar char="•"/>
        <a:defRPr lang="en-US" sz="12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lang="en-US" sz="33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lang="en-US" sz="405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lang="en-US" sz="18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18" Type="http://schemas.openxmlformats.org/officeDocument/2006/relationships/image" Target="../media/image29.png"/><Relationship Id="rId3" Type="http://schemas.openxmlformats.org/officeDocument/2006/relationships/diagramLayout" Target="../diagrams/layout1.xml"/><Relationship Id="rId21" Type="http://schemas.openxmlformats.org/officeDocument/2006/relationships/image" Target="../media/image32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17" Type="http://schemas.openxmlformats.org/officeDocument/2006/relationships/image" Target="../media/image28.png"/><Relationship Id="rId2" Type="http://schemas.openxmlformats.org/officeDocument/2006/relationships/diagramData" Target="../diagrams/data1.xml"/><Relationship Id="rId16" Type="http://schemas.openxmlformats.org/officeDocument/2006/relationships/image" Target="../media/image27.png"/><Relationship Id="rId20" Type="http://schemas.openxmlformats.org/officeDocument/2006/relationships/image" Target="../media/image31.png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11" Type="http://schemas.openxmlformats.org/officeDocument/2006/relationships/image" Target="../media/image22.png"/><Relationship Id="rId5" Type="http://schemas.openxmlformats.org/officeDocument/2006/relationships/diagramColors" Target="../diagrams/colors1.xml"/><Relationship Id="rId15" Type="http://schemas.openxmlformats.org/officeDocument/2006/relationships/image" Target="../media/image26.png"/><Relationship Id="rId23" Type="http://schemas.openxmlformats.org/officeDocument/2006/relationships/image" Target="../media/image34.png"/><Relationship Id="rId10" Type="http://schemas.openxmlformats.org/officeDocument/2006/relationships/image" Target="../media/image21.png"/><Relationship Id="rId19" Type="http://schemas.openxmlformats.org/officeDocument/2006/relationships/image" Target="../media/image30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20.png"/><Relationship Id="rId14" Type="http://schemas.openxmlformats.org/officeDocument/2006/relationships/image" Target="../media/image25.png"/><Relationship Id="rId22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4E5EF-3CBA-4FDA-A6BE-73933491B4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83378" y="1510957"/>
            <a:ext cx="4199466" cy="1397706"/>
          </a:xfrm>
        </p:spPr>
        <p:txBody>
          <a:bodyPr/>
          <a:lstStyle/>
          <a:p>
            <a:r>
              <a:rPr lang="en-IN" sz="3400" dirty="0">
                <a:latin typeface="Calibri" panose="020F0502020204030204" pitchFamily="34" charset="0"/>
                <a:cs typeface="Calibri" panose="020F0502020204030204" pitchFamily="34" charset="0"/>
              </a:rPr>
              <a:t>CAPSTONE PROJECT </a:t>
            </a:r>
            <a:r>
              <a:rPr lang="en-IN" sz="3400" u="none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IN" sz="3200" u="none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line </a:t>
            </a:r>
            <a:r>
              <a:rPr lang="en-US" sz="3200" u="none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w</a:t>
            </a:r>
            <a:r>
              <a:rPr lang="en-US" sz="3200" u="none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er </a:t>
            </a:r>
            <a:r>
              <a:rPr lang="en-US" sz="3200" u="none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</a:t>
            </a:r>
            <a:r>
              <a:rPr lang="en-US" sz="3200" u="none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rvices </a:t>
            </a:r>
            <a:r>
              <a:rPr lang="en-US" sz="3200" u="none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atform</a:t>
            </a:r>
            <a:endParaRPr lang="en-IN" sz="3200" u="none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52B43-C29D-43DD-8624-E958CD6BC6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953125" y="3844692"/>
            <a:ext cx="3190875" cy="150332"/>
          </a:xfrm>
        </p:spPr>
        <p:txBody>
          <a:bodyPr/>
          <a:lstStyle/>
          <a:p>
            <a:r>
              <a:rPr lang="en-IN" sz="1400" dirty="0">
                <a:solidFill>
                  <a:srgbClr val="173D7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ed By :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FA3AE3-2673-47EB-BD32-CCF66FCC30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rot="10800000" flipV="1">
            <a:off x="5953125" y="4107912"/>
            <a:ext cx="3190875" cy="475378"/>
          </a:xfrm>
        </p:spPr>
        <p:txBody>
          <a:bodyPr/>
          <a:lstStyle/>
          <a:p>
            <a:r>
              <a:rPr lang="en-IN" sz="1200" dirty="0">
                <a:solidFill>
                  <a:srgbClr val="173D7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dhuri Tolambe - MA20246133</a:t>
            </a:r>
          </a:p>
          <a:p>
            <a:r>
              <a:rPr lang="en-IN" sz="1200" dirty="0" err="1">
                <a:solidFill>
                  <a:srgbClr val="173D7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ikiran</a:t>
            </a:r>
            <a:r>
              <a:rPr lang="en-IN" sz="1200" dirty="0">
                <a:solidFill>
                  <a:srgbClr val="173D7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IN" sz="1200" dirty="0" err="1">
                <a:solidFill>
                  <a:srgbClr val="173D7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eruku</a:t>
            </a:r>
            <a:r>
              <a:rPr lang="en-IN" sz="1200" dirty="0">
                <a:solidFill>
                  <a:srgbClr val="173D7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 SA20252477</a:t>
            </a:r>
          </a:p>
        </p:txBody>
      </p:sp>
    </p:spTree>
    <p:extLst>
      <p:ext uri="{BB962C8B-B14F-4D97-AF65-F5344CB8AC3E}">
        <p14:creationId xmlns:p14="http://schemas.microsoft.com/office/powerpoint/2010/main" val="28108797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368938-2BB9-4265-BDA8-167E3FE690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5770" y="639807"/>
            <a:ext cx="5245100" cy="909593"/>
          </a:xfrm>
        </p:spPr>
        <p:txBody>
          <a:bodyPr/>
          <a:lstStyle/>
          <a:p>
            <a:r>
              <a:rPr lang="en-IN" dirty="0">
                <a:latin typeface="Calibri" panose="020F0502020204030204" pitchFamily="34" charset="0"/>
                <a:cs typeface="Calibri" panose="020F0502020204030204" pitchFamily="34" charset="0"/>
              </a:rPr>
              <a:t>Table of Contents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1DF83B-E888-41B1-B1E4-C50844A1AC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235" y="1418592"/>
            <a:ext cx="8601530" cy="3085101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IN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tion of the team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bout capstone project and its flow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ols used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ols integration with respect to capstone project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monstration of Project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ture Scope for improvement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1200" dirty="0"/>
          </a:p>
          <a:p>
            <a:pPr>
              <a:buFont typeface="Wingdings" panose="05000000000000000000" pitchFamily="2" charset="2"/>
              <a:buChar char="Ø"/>
            </a:pPr>
            <a:endParaRPr lang="en-US" sz="1200" dirty="0"/>
          </a:p>
          <a:p>
            <a:pPr>
              <a:buFont typeface="Wingdings" panose="05000000000000000000" pitchFamily="2" charset="2"/>
              <a:buChar char="Ø"/>
            </a:pPr>
            <a:endParaRPr lang="en-US" sz="1200" dirty="0"/>
          </a:p>
          <a:p>
            <a:pPr>
              <a:buFont typeface="Wingdings" panose="05000000000000000000" pitchFamily="2" charset="2"/>
              <a:buChar char="Ø"/>
            </a:pPr>
            <a:endParaRPr lang="en-IN" sz="12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853EA64-7E0D-4D52-BD14-E4FDCDCDEB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842555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368938-2BB9-4265-BDA8-167E3FE690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5770" y="639807"/>
            <a:ext cx="5245100" cy="909593"/>
          </a:xfrm>
        </p:spPr>
        <p:txBody>
          <a:bodyPr/>
          <a:lstStyle/>
          <a:p>
            <a:r>
              <a:rPr lang="en-IN" dirty="0">
                <a:latin typeface="Calibri" panose="020F0502020204030204" pitchFamily="34" charset="0"/>
                <a:cs typeface="Calibri" panose="020F0502020204030204" pitchFamily="34" charset="0"/>
              </a:rPr>
              <a:t>INTRODUCTION OF TEAM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1DF83B-E888-41B1-B1E4-C50844A1AC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235" y="1418592"/>
            <a:ext cx="8601530" cy="3085101"/>
          </a:xfrm>
        </p:spPr>
        <p:txBody>
          <a:bodyPr/>
          <a:lstStyle/>
          <a:p>
            <a:pPr marL="0" indent="0">
              <a:buNone/>
            </a:pPr>
            <a:endParaRPr lang="en-US" sz="1200" dirty="0"/>
          </a:p>
          <a:p>
            <a:pPr>
              <a:buFont typeface="Wingdings" panose="05000000000000000000" pitchFamily="2" charset="2"/>
              <a:buChar char="Ø"/>
            </a:pPr>
            <a:endParaRPr lang="en-US" sz="1200" dirty="0"/>
          </a:p>
          <a:p>
            <a:pPr marL="0" indent="0">
              <a:buNone/>
            </a:pPr>
            <a:endParaRPr lang="en-IN" sz="12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853EA64-7E0D-4D52-BD14-E4FDCDCDEB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IN"/>
          </a:p>
        </p:txBody>
      </p:sp>
      <p:graphicFrame>
        <p:nvGraphicFramePr>
          <p:cNvPr id="3" name="Table 5">
            <a:extLst>
              <a:ext uri="{FF2B5EF4-FFF2-40B4-BE49-F238E27FC236}">
                <a16:creationId xmlns:a16="http://schemas.microsoft.com/office/drawing/2014/main" id="{01B0AE0F-E745-4CDD-812A-FABA851875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9335670"/>
              </p:ext>
            </p:extLst>
          </p:nvPr>
        </p:nvGraphicFramePr>
        <p:xfrm>
          <a:off x="271235" y="1549400"/>
          <a:ext cx="7540677" cy="13631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13559">
                  <a:extLst>
                    <a:ext uri="{9D8B030D-6E8A-4147-A177-3AD203B41FA5}">
                      <a16:colId xmlns:a16="http://schemas.microsoft.com/office/drawing/2014/main" val="2020085699"/>
                    </a:ext>
                  </a:extLst>
                </a:gridCol>
                <a:gridCol w="2513559">
                  <a:extLst>
                    <a:ext uri="{9D8B030D-6E8A-4147-A177-3AD203B41FA5}">
                      <a16:colId xmlns:a16="http://schemas.microsoft.com/office/drawing/2014/main" val="2905359122"/>
                    </a:ext>
                  </a:extLst>
                </a:gridCol>
                <a:gridCol w="2513559">
                  <a:extLst>
                    <a:ext uri="{9D8B030D-6E8A-4147-A177-3AD203B41FA5}">
                      <a16:colId xmlns:a16="http://schemas.microsoft.com/office/drawing/2014/main" val="2486002801"/>
                    </a:ext>
                  </a:extLst>
                </a:gridCol>
              </a:tblGrid>
              <a:tr h="454378">
                <a:tc>
                  <a:txBody>
                    <a:bodyPr/>
                    <a:lstStyle/>
                    <a:p>
                      <a:pPr algn="ctr"/>
                      <a:r>
                        <a:rPr lang="en-IN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am memb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 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ail</a:t>
                      </a:r>
                      <a:r>
                        <a:rPr lang="en-IN" dirty="0"/>
                        <a:t> I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8123404"/>
                  </a:ext>
                </a:extLst>
              </a:tr>
              <a:tr h="454378"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dhuri Tolamb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202461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dhuri.tolambe@wipro.co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7742335"/>
                  </a:ext>
                </a:extLst>
              </a:tr>
              <a:tr h="454378"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ikiran</a:t>
                      </a:r>
                      <a:r>
                        <a:rPr lang="en-IN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IN" sz="1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heruku</a:t>
                      </a:r>
                      <a:endParaRPr lang="en-IN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2025247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ikiran.cheruku1@wipro.co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73541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49588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368938-2BB9-4265-BDA8-167E3FE690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5044" y="831718"/>
            <a:ext cx="5245100" cy="909593"/>
          </a:xfrm>
        </p:spPr>
        <p:txBody>
          <a:bodyPr/>
          <a:lstStyle/>
          <a:p>
            <a:r>
              <a:rPr lang="en-IN" dirty="0">
                <a:latin typeface="Calibri" panose="020F0502020204030204" pitchFamily="34" charset="0"/>
                <a:cs typeface="Calibri" panose="020F0502020204030204" pitchFamily="34" charset="0"/>
              </a:rPr>
              <a:t>ABOUT CAPSTONE PROJECT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1DF83B-E888-41B1-B1E4-C50844A1AC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5044" y="1367865"/>
            <a:ext cx="8601530" cy="3085101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endParaRPr lang="en-US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line water services platform to offer water services across India</a:t>
            </a: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rtal will deliver mineral water or normal water based on customer requirement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t's web application based on java server-based scripts for FE and the data is stored in MySQL DB hosted on ubuntu server.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1200" dirty="0"/>
          </a:p>
          <a:p>
            <a:pPr>
              <a:buFont typeface="Wingdings" panose="05000000000000000000" pitchFamily="2" charset="2"/>
              <a:buChar char="Ø"/>
            </a:pPr>
            <a:endParaRPr lang="en-US" sz="1200" dirty="0"/>
          </a:p>
          <a:p>
            <a:pPr>
              <a:buFont typeface="Wingdings" panose="05000000000000000000" pitchFamily="2" charset="2"/>
              <a:buChar char="Ø"/>
            </a:pPr>
            <a:endParaRPr lang="en-US" sz="1200" dirty="0"/>
          </a:p>
          <a:p>
            <a:pPr>
              <a:buFont typeface="Wingdings" panose="05000000000000000000" pitchFamily="2" charset="2"/>
              <a:buChar char="Ø"/>
            </a:pPr>
            <a:endParaRPr lang="en-IN" sz="12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853EA64-7E0D-4D52-BD14-E4FDCDCDEB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031299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val 78">
            <a:extLst>
              <a:ext uri="{FF2B5EF4-FFF2-40B4-BE49-F238E27FC236}">
                <a16:creationId xmlns:a16="http://schemas.microsoft.com/office/drawing/2014/main" id="{77A118C7-393E-42AA-9E12-1624CBAE4DF7}"/>
              </a:ext>
            </a:extLst>
          </p:cNvPr>
          <p:cNvSpPr/>
          <p:nvPr/>
        </p:nvSpPr>
        <p:spPr>
          <a:xfrm>
            <a:off x="5331759" y="63942"/>
            <a:ext cx="710455" cy="766688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1466" y="288510"/>
            <a:ext cx="5764012" cy="552851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OOLS USED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2280490" y="927446"/>
            <a:ext cx="5026361" cy="3078162"/>
            <a:chOff x="1311545" y="599322"/>
            <a:chExt cx="4848225" cy="2879725"/>
          </a:xfrm>
        </p:grpSpPr>
        <p:graphicFrame>
          <p:nvGraphicFramePr>
            <p:cNvPr id="8" name="Diagram 7"/>
            <p:cNvGraphicFramePr/>
            <p:nvPr/>
          </p:nvGraphicFramePr>
          <p:xfrm>
            <a:off x="1311545" y="599322"/>
            <a:ext cx="4848225" cy="2879725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37983" y="985073"/>
              <a:ext cx="458540" cy="458540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8490" y="2593147"/>
              <a:ext cx="472828" cy="472828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37569" y="3021266"/>
              <a:ext cx="373578" cy="37357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13474" y="2566452"/>
              <a:ext cx="575009" cy="575008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2078" y="1857330"/>
              <a:ext cx="400367" cy="400367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70367" y="1034549"/>
              <a:ext cx="466726" cy="365760"/>
            </a:xfrm>
            <a:prstGeom prst="rect">
              <a:avLst/>
            </a:prstGeom>
          </p:spPr>
        </p:pic>
      </p:grpSp>
      <p:sp>
        <p:nvSpPr>
          <p:cNvPr id="20" name="TextBox 19"/>
          <p:cNvSpPr txBox="1"/>
          <p:nvPr/>
        </p:nvSpPr>
        <p:spPr>
          <a:xfrm>
            <a:off x="6077954" y="230890"/>
            <a:ext cx="83067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035478" y="1512256"/>
            <a:ext cx="8130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Source Code</a:t>
            </a:r>
          </a:p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Management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177878" y="4056796"/>
            <a:ext cx="12076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Code Quality Analysi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604044" y="3247309"/>
            <a:ext cx="12076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Binary </a:t>
            </a:r>
          </a:p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Management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623934" y="2546133"/>
            <a:ext cx="12076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Continuous</a:t>
            </a:r>
          </a:p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Release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814136" y="1438404"/>
            <a:ext cx="12076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Continuous Deployment</a:t>
            </a:r>
          </a:p>
        </p:txBody>
      </p:sp>
      <p:cxnSp>
        <p:nvCxnSpPr>
          <p:cNvPr id="37" name="Straight Connector 36"/>
          <p:cNvCxnSpPr>
            <a:cxnSpLocks/>
            <a:endCxn id="38" idx="3"/>
          </p:cNvCxnSpPr>
          <p:nvPr/>
        </p:nvCxnSpPr>
        <p:spPr>
          <a:xfrm flipV="1">
            <a:off x="5939048" y="1040888"/>
            <a:ext cx="523505" cy="419480"/>
          </a:xfrm>
          <a:prstGeom prst="line">
            <a:avLst/>
          </a:prstGeom>
          <a:ln w="12700"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6307927" y="617274"/>
            <a:ext cx="1055855" cy="49629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0" i="0" dirty="0">
                <a:solidFill>
                  <a:srgbClr val="212121"/>
                </a:solidFill>
                <a:effectLst/>
                <a:latin typeface="-apple-system"/>
              </a:rPr>
              <a:t>Gitea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56" name="Straight Connector 55"/>
          <p:cNvCxnSpPr/>
          <p:nvPr/>
        </p:nvCxnSpPr>
        <p:spPr>
          <a:xfrm flipH="1">
            <a:off x="3794835" y="3875127"/>
            <a:ext cx="729147" cy="435651"/>
          </a:xfrm>
          <a:prstGeom prst="line">
            <a:avLst/>
          </a:prstGeom>
          <a:ln w="12700">
            <a:solidFill>
              <a:schemeClr val="accent6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39" name="Group 138"/>
          <p:cNvGrpSpPr/>
          <p:nvPr/>
        </p:nvGrpSpPr>
        <p:grpSpPr>
          <a:xfrm>
            <a:off x="3451614" y="3977504"/>
            <a:ext cx="710455" cy="673215"/>
            <a:chOff x="3230175" y="4335130"/>
            <a:chExt cx="710455" cy="673215"/>
          </a:xfrm>
        </p:grpSpPr>
        <p:sp>
          <p:nvSpPr>
            <p:cNvPr id="57" name="Oval 56"/>
            <p:cNvSpPr/>
            <p:nvPr/>
          </p:nvSpPr>
          <p:spPr>
            <a:xfrm>
              <a:off x="3230175" y="4335130"/>
              <a:ext cx="710455" cy="67321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3" name="Picture 62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84632" y="4593602"/>
              <a:ext cx="611329" cy="146719"/>
            </a:xfrm>
            <a:prstGeom prst="rect">
              <a:avLst/>
            </a:prstGeom>
          </p:spPr>
        </p:pic>
      </p:grpSp>
      <p:cxnSp>
        <p:nvCxnSpPr>
          <p:cNvPr id="64" name="Straight Connector 63"/>
          <p:cNvCxnSpPr/>
          <p:nvPr/>
        </p:nvCxnSpPr>
        <p:spPr>
          <a:xfrm flipH="1">
            <a:off x="2467191" y="3469185"/>
            <a:ext cx="1182061" cy="218356"/>
          </a:xfrm>
          <a:prstGeom prst="line">
            <a:avLst/>
          </a:prstGeom>
          <a:ln w="127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38" name="Group 137"/>
          <p:cNvGrpSpPr/>
          <p:nvPr/>
        </p:nvGrpSpPr>
        <p:grpSpPr>
          <a:xfrm>
            <a:off x="935868" y="2951825"/>
            <a:ext cx="1480333" cy="1556895"/>
            <a:chOff x="1887219" y="3712857"/>
            <a:chExt cx="710455" cy="673215"/>
          </a:xfrm>
        </p:grpSpPr>
        <p:sp>
          <p:nvSpPr>
            <p:cNvPr id="65" name="Oval 64"/>
            <p:cNvSpPr/>
            <p:nvPr/>
          </p:nvSpPr>
          <p:spPr>
            <a:xfrm>
              <a:off x="1887219" y="3712857"/>
              <a:ext cx="710455" cy="67321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70" name="Picture 69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78668" y="3717791"/>
              <a:ext cx="521821" cy="324399"/>
            </a:xfrm>
            <a:prstGeom prst="rect">
              <a:avLst/>
            </a:prstGeom>
          </p:spPr>
        </p:pic>
      </p:grpSp>
      <p:cxnSp>
        <p:nvCxnSpPr>
          <p:cNvPr id="71" name="Straight Connector 70"/>
          <p:cNvCxnSpPr>
            <a:cxnSpLocks/>
            <a:endCxn id="72" idx="6"/>
          </p:cNvCxnSpPr>
          <p:nvPr/>
        </p:nvCxnSpPr>
        <p:spPr>
          <a:xfrm flipH="1" flipV="1">
            <a:off x="2280490" y="2142610"/>
            <a:ext cx="989648" cy="303766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0" name="Group 139"/>
          <p:cNvGrpSpPr/>
          <p:nvPr/>
        </p:nvGrpSpPr>
        <p:grpSpPr>
          <a:xfrm>
            <a:off x="872346" y="1556294"/>
            <a:ext cx="1408144" cy="1172631"/>
            <a:chOff x="1538369" y="2718258"/>
            <a:chExt cx="710455" cy="673215"/>
          </a:xfrm>
        </p:grpSpPr>
        <p:sp>
          <p:nvSpPr>
            <p:cNvPr id="72" name="Oval 71"/>
            <p:cNvSpPr/>
            <p:nvPr/>
          </p:nvSpPr>
          <p:spPr>
            <a:xfrm>
              <a:off x="1538369" y="2718258"/>
              <a:ext cx="710455" cy="67321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3" name="Picture 82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64586" y="2808996"/>
              <a:ext cx="461618" cy="462912"/>
            </a:xfrm>
            <a:prstGeom prst="rect">
              <a:avLst/>
            </a:prstGeom>
          </p:spPr>
        </p:pic>
      </p:grpSp>
      <p:sp>
        <p:nvSpPr>
          <p:cNvPr id="96" name="Oval 95"/>
          <p:cNvSpPr/>
          <p:nvPr/>
        </p:nvSpPr>
        <p:spPr>
          <a:xfrm>
            <a:off x="4270625" y="1929074"/>
            <a:ext cx="1088013" cy="1050499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7" name="Picture 96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4450" y="1959380"/>
            <a:ext cx="996894" cy="996894"/>
          </a:xfrm>
          <a:prstGeom prst="rect">
            <a:avLst/>
          </a:prstGeom>
        </p:spPr>
      </p:pic>
      <p:sp>
        <p:nvSpPr>
          <p:cNvPr id="98" name="TextBox 97"/>
          <p:cNvSpPr txBox="1"/>
          <p:nvPr/>
        </p:nvSpPr>
        <p:spPr>
          <a:xfrm>
            <a:off x="4384865" y="2997848"/>
            <a:ext cx="8595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Orchestration</a:t>
            </a:r>
          </a:p>
        </p:txBody>
      </p:sp>
      <p:pic>
        <p:nvPicPr>
          <p:cNvPr id="107" name="Picture 106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9736" y="2201986"/>
            <a:ext cx="498767" cy="498767"/>
          </a:xfrm>
          <a:prstGeom prst="rect">
            <a:avLst/>
          </a:prstGeom>
        </p:spPr>
      </p:pic>
      <p:cxnSp>
        <p:nvCxnSpPr>
          <p:cNvPr id="109" name="Straight Connector 108"/>
          <p:cNvCxnSpPr>
            <a:cxnSpLocks/>
            <a:endCxn id="108" idx="2"/>
          </p:cNvCxnSpPr>
          <p:nvPr/>
        </p:nvCxnSpPr>
        <p:spPr>
          <a:xfrm flipV="1">
            <a:off x="6347921" y="2440588"/>
            <a:ext cx="963112" cy="23894"/>
          </a:xfrm>
          <a:prstGeom prst="line">
            <a:avLst/>
          </a:prstGeom>
          <a:ln w="12700">
            <a:solidFill>
              <a:schemeClr val="accent4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>
            <a:cxnSpLocks/>
          </p:cNvCxnSpPr>
          <p:nvPr/>
        </p:nvCxnSpPr>
        <p:spPr>
          <a:xfrm>
            <a:off x="5898829" y="3561756"/>
            <a:ext cx="622349" cy="639438"/>
          </a:xfrm>
          <a:prstGeom prst="line">
            <a:avLst/>
          </a:prstGeom>
          <a:ln w="12700"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8" name="Oval 107"/>
          <p:cNvSpPr/>
          <p:nvPr/>
        </p:nvSpPr>
        <p:spPr>
          <a:xfrm>
            <a:off x="7311033" y="2103980"/>
            <a:ext cx="710455" cy="67321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TextBox 115"/>
          <p:cNvSpPr txBox="1"/>
          <p:nvPr/>
        </p:nvSpPr>
        <p:spPr>
          <a:xfrm>
            <a:off x="6184361" y="2607918"/>
            <a:ext cx="8130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Build </a:t>
            </a:r>
          </a:p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Environment</a:t>
            </a:r>
          </a:p>
        </p:txBody>
      </p:sp>
      <p:sp>
        <p:nvSpPr>
          <p:cNvPr id="44" name="Oval 43"/>
          <p:cNvSpPr/>
          <p:nvPr/>
        </p:nvSpPr>
        <p:spPr>
          <a:xfrm>
            <a:off x="6508282" y="3922171"/>
            <a:ext cx="1087333" cy="67321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  <a:highlight>
                  <a:srgbClr val="FFFF0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Synthetic Testing</a:t>
            </a:r>
          </a:p>
        </p:txBody>
      </p:sp>
      <p:cxnSp>
        <p:nvCxnSpPr>
          <p:cNvPr id="145" name="Straight Connector 144"/>
          <p:cNvCxnSpPr/>
          <p:nvPr/>
        </p:nvCxnSpPr>
        <p:spPr>
          <a:xfrm flipH="1" flipV="1">
            <a:off x="2415802" y="1243635"/>
            <a:ext cx="1202402" cy="294708"/>
          </a:xfrm>
          <a:prstGeom prst="line">
            <a:avLst/>
          </a:prstGeom>
          <a:ln w="127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Oval 84"/>
          <p:cNvSpPr/>
          <p:nvPr/>
        </p:nvSpPr>
        <p:spPr>
          <a:xfrm>
            <a:off x="2030822" y="924945"/>
            <a:ext cx="710455" cy="67321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8" name="Picture 87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1084" y="998011"/>
            <a:ext cx="473146" cy="473146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96F5F826-2D06-4D05-9687-FEB8A8BE3445}"/>
              </a:ext>
            </a:extLst>
          </p:cNvPr>
          <p:cNvSpPr txBox="1"/>
          <p:nvPr/>
        </p:nvSpPr>
        <p:spPr>
          <a:xfrm>
            <a:off x="5005295" y="3941498"/>
            <a:ext cx="12076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Code Coverage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72590BB9-76D4-4C83-8E04-02E7D2DC80A0}"/>
              </a:ext>
            </a:extLst>
          </p:cNvPr>
          <p:cNvCxnSpPr>
            <a:cxnSpLocks/>
          </p:cNvCxnSpPr>
          <p:nvPr/>
        </p:nvCxnSpPr>
        <p:spPr>
          <a:xfrm flipH="1" flipV="1">
            <a:off x="3685985" y="864142"/>
            <a:ext cx="84619" cy="475729"/>
          </a:xfrm>
          <a:prstGeom prst="line">
            <a:avLst/>
          </a:prstGeom>
          <a:ln w="127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4" name="Oval 73">
            <a:extLst>
              <a:ext uri="{FF2B5EF4-FFF2-40B4-BE49-F238E27FC236}">
                <a16:creationId xmlns:a16="http://schemas.microsoft.com/office/drawing/2014/main" id="{77A118C7-393E-42AA-9E12-1624CBAE4DF7}"/>
              </a:ext>
            </a:extLst>
          </p:cNvPr>
          <p:cNvSpPr/>
          <p:nvPr/>
        </p:nvSpPr>
        <p:spPr>
          <a:xfrm>
            <a:off x="2940209" y="255510"/>
            <a:ext cx="1232673" cy="67321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nagio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FC9B46EF-3F65-42A8-A990-8A8039DCB6E2}"/>
              </a:ext>
            </a:extLst>
          </p:cNvPr>
          <p:cNvSpPr txBox="1"/>
          <p:nvPr/>
        </p:nvSpPr>
        <p:spPr>
          <a:xfrm>
            <a:off x="3039010" y="941768"/>
            <a:ext cx="12076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Monitoring</a:t>
            </a:r>
          </a:p>
        </p:txBody>
      </p:sp>
      <p:pic>
        <p:nvPicPr>
          <p:cNvPr id="77" name="Picture 8" descr="Image result for Maven Image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1697" y="2255523"/>
            <a:ext cx="585164" cy="404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12" descr="Image result for java image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7895" y="133523"/>
            <a:ext cx="532775" cy="504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79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7785" y="1007817"/>
            <a:ext cx="466549" cy="481024"/>
          </a:xfrm>
          <a:prstGeom prst="rect">
            <a:avLst/>
          </a:prstGeom>
        </p:spPr>
      </p:pic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2590BB9-76D4-4C83-8E04-02E7D2DC80A0}"/>
              </a:ext>
            </a:extLst>
          </p:cNvPr>
          <p:cNvCxnSpPr>
            <a:cxnSpLocks/>
            <a:endCxn id="79" idx="3"/>
          </p:cNvCxnSpPr>
          <p:nvPr/>
        </p:nvCxnSpPr>
        <p:spPr>
          <a:xfrm flipV="1">
            <a:off x="5042874" y="718351"/>
            <a:ext cx="392929" cy="311255"/>
          </a:xfrm>
          <a:prstGeom prst="line">
            <a:avLst/>
          </a:prstGeom>
          <a:ln w="127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0309E982-CADD-4420-975F-0F284E9E1485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643519" y="653489"/>
            <a:ext cx="350186" cy="140809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641E81A4-A6FB-4FDD-9716-83D0A04E63B8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4523982" y="143803"/>
            <a:ext cx="400050" cy="361950"/>
          </a:xfrm>
          <a:prstGeom prst="rect">
            <a:avLst/>
          </a:prstGeom>
        </p:spPr>
      </p:pic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6ACC0481-7133-467E-9CB4-7AD9C2F191F1}"/>
              </a:ext>
            </a:extLst>
          </p:cNvPr>
          <p:cNvCxnSpPr>
            <a:cxnSpLocks/>
            <a:stCxn id="8" idx="0"/>
            <a:endCxn id="39" idx="2"/>
          </p:cNvCxnSpPr>
          <p:nvPr/>
        </p:nvCxnSpPr>
        <p:spPr>
          <a:xfrm flipH="1" flipV="1">
            <a:off x="4724007" y="505753"/>
            <a:ext cx="69663" cy="421693"/>
          </a:xfrm>
          <a:prstGeom prst="line">
            <a:avLst/>
          </a:prstGeom>
          <a:ln w="127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26838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368938-2BB9-4265-BDA8-167E3FE690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5044" y="458272"/>
            <a:ext cx="5245100" cy="909593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OOLS INTEGRATION WITH RESPECT TO PROJECT</a:t>
            </a:r>
            <a:r>
              <a:rPr lang="en-IN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1DF83B-E888-41B1-B1E4-C50844A1AC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5044" y="1367865"/>
            <a:ext cx="8601530" cy="3085101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endParaRPr lang="en-US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sz="1200" dirty="0"/>
          </a:p>
          <a:p>
            <a:pPr>
              <a:buFont typeface="Wingdings" panose="05000000000000000000" pitchFamily="2" charset="2"/>
              <a:buChar char="Ø"/>
            </a:pPr>
            <a:endParaRPr lang="en-US" sz="1200" dirty="0"/>
          </a:p>
          <a:p>
            <a:pPr>
              <a:buFont typeface="Wingdings" panose="05000000000000000000" pitchFamily="2" charset="2"/>
              <a:buChar char="Ø"/>
            </a:pPr>
            <a:endParaRPr lang="en-US" sz="1200" dirty="0"/>
          </a:p>
          <a:p>
            <a:pPr>
              <a:buFont typeface="Wingdings" panose="05000000000000000000" pitchFamily="2" charset="2"/>
              <a:buChar char="Ø"/>
            </a:pPr>
            <a:endParaRPr lang="en-IN" sz="12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853EA64-7E0D-4D52-BD14-E4FDCDCDEB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B1B81E8-5615-4A90-A944-024452EEF7D4}"/>
              </a:ext>
            </a:extLst>
          </p:cNvPr>
          <p:cNvSpPr/>
          <p:nvPr/>
        </p:nvSpPr>
        <p:spPr>
          <a:xfrm>
            <a:off x="285043" y="1603023"/>
            <a:ext cx="1306690" cy="458612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Local Repository(Git)</a:t>
            </a:r>
          </a:p>
        </p:txBody>
      </p:sp>
      <p:sp>
        <p:nvSpPr>
          <p:cNvPr id="8" name="Pentagon 7">
            <a:extLst>
              <a:ext uri="{FF2B5EF4-FFF2-40B4-BE49-F238E27FC236}">
                <a16:creationId xmlns:a16="http://schemas.microsoft.com/office/drawing/2014/main" id="{C5AA1074-D12A-45E0-9C06-EFA096D6B914}"/>
              </a:ext>
            </a:extLst>
          </p:cNvPr>
          <p:cNvSpPr/>
          <p:nvPr/>
        </p:nvSpPr>
        <p:spPr>
          <a:xfrm>
            <a:off x="462376" y="2639837"/>
            <a:ext cx="960024" cy="781050"/>
          </a:xfrm>
          <a:prstGeom prst="pentagon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Gitea</a:t>
            </a:r>
            <a:endParaRPr lang="en-IN" sz="14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AFAB0B7-F3FA-4261-B7E9-5D266D733388}"/>
              </a:ext>
            </a:extLst>
          </p:cNvPr>
          <p:cNvSpPr/>
          <p:nvPr/>
        </p:nvSpPr>
        <p:spPr>
          <a:xfrm>
            <a:off x="2178755" y="3620168"/>
            <a:ext cx="1158220" cy="589920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Jenkins</a:t>
            </a:r>
            <a:endParaRPr lang="en-IN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5C3DCC2C-869D-4B93-81B2-ED27B66D626D}"/>
              </a:ext>
            </a:extLst>
          </p:cNvPr>
          <p:cNvSpPr/>
          <p:nvPr/>
        </p:nvSpPr>
        <p:spPr>
          <a:xfrm>
            <a:off x="2757865" y="1603023"/>
            <a:ext cx="1061155" cy="822135"/>
          </a:xfrm>
          <a:prstGeom prst="hexagon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IN" sz="1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Maven</a:t>
            </a:r>
            <a:endParaRPr lang="en-IN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3648ACB-C1F9-4EF6-9417-C97663973A3F}"/>
              </a:ext>
            </a:extLst>
          </p:cNvPr>
          <p:cNvSpPr/>
          <p:nvPr/>
        </p:nvSpPr>
        <p:spPr>
          <a:xfrm>
            <a:off x="4503107" y="2264051"/>
            <a:ext cx="1431169" cy="963787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Artifactory</a:t>
            </a: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304EB7D7-3C16-4911-AC61-5DB28E95A911}"/>
              </a:ext>
            </a:extLst>
          </p:cNvPr>
          <p:cNvSpPr/>
          <p:nvPr/>
        </p:nvSpPr>
        <p:spPr>
          <a:xfrm>
            <a:off x="5746044" y="2425158"/>
            <a:ext cx="45719" cy="45719"/>
          </a:xfrm>
          <a:prstGeom prst="triangle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2872DB0A-14BE-4BBC-B95F-70DA423148CE}"/>
              </a:ext>
            </a:extLst>
          </p:cNvPr>
          <p:cNvSpPr/>
          <p:nvPr/>
        </p:nvSpPr>
        <p:spPr>
          <a:xfrm>
            <a:off x="6809970" y="1478844"/>
            <a:ext cx="1431169" cy="1092906"/>
          </a:xfrm>
          <a:prstGeom prst="triangl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IN" sz="1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Docker</a:t>
            </a:r>
            <a:endParaRPr lang="en-IN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Flowchart: Decision 14">
            <a:extLst>
              <a:ext uri="{FF2B5EF4-FFF2-40B4-BE49-F238E27FC236}">
                <a16:creationId xmlns:a16="http://schemas.microsoft.com/office/drawing/2014/main" id="{3127729C-3BF7-47CE-BDEA-0C02DEF7B40C}"/>
              </a:ext>
            </a:extLst>
          </p:cNvPr>
          <p:cNvSpPr/>
          <p:nvPr/>
        </p:nvSpPr>
        <p:spPr>
          <a:xfrm>
            <a:off x="5473421" y="3931881"/>
            <a:ext cx="1972743" cy="753347"/>
          </a:xfrm>
          <a:prstGeom prst="flowChartDecision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Sonarqube</a:t>
            </a:r>
            <a:endParaRPr lang="en-IN" sz="14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362D50DC-6336-44D1-8ABA-9692DF4419A6}"/>
              </a:ext>
            </a:extLst>
          </p:cNvPr>
          <p:cNvCxnSpPr>
            <a:stCxn id="3" idx="2"/>
            <a:endCxn id="8" idx="0"/>
          </p:cNvCxnSpPr>
          <p:nvPr/>
        </p:nvCxnSpPr>
        <p:spPr>
          <a:xfrm>
            <a:off x="938388" y="2061635"/>
            <a:ext cx="4000" cy="57820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D446FF36-4257-4127-8F1D-C2F555B310F3}"/>
              </a:ext>
            </a:extLst>
          </p:cNvPr>
          <p:cNvCxnSpPr>
            <a:cxnSpLocks/>
            <a:stCxn id="8" idx="5"/>
            <a:endCxn id="9" idx="1"/>
          </p:cNvCxnSpPr>
          <p:nvPr/>
        </p:nvCxnSpPr>
        <p:spPr>
          <a:xfrm>
            <a:off x="1422399" y="2938171"/>
            <a:ext cx="756356" cy="976957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430B84C7-F586-4FCE-BB05-1C8566B2D424}"/>
              </a:ext>
            </a:extLst>
          </p:cNvPr>
          <p:cNvCxnSpPr>
            <a:stCxn id="9" idx="0"/>
            <a:endCxn id="10" idx="2"/>
          </p:cNvCxnSpPr>
          <p:nvPr/>
        </p:nvCxnSpPr>
        <p:spPr>
          <a:xfrm flipV="1">
            <a:off x="2757865" y="2425158"/>
            <a:ext cx="205534" cy="119501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6ADEABC1-719A-43E6-8E9B-A1C2205F1691}"/>
              </a:ext>
            </a:extLst>
          </p:cNvPr>
          <p:cNvCxnSpPr>
            <a:cxnSpLocks/>
          </p:cNvCxnSpPr>
          <p:nvPr/>
        </p:nvCxnSpPr>
        <p:spPr>
          <a:xfrm flipH="1">
            <a:off x="3107277" y="2425158"/>
            <a:ext cx="208998" cy="1190586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0D95F7E2-ABDE-40F8-9A1D-D304E52A8337}"/>
              </a:ext>
            </a:extLst>
          </p:cNvPr>
          <p:cNvCxnSpPr>
            <a:stCxn id="9" idx="3"/>
            <a:endCxn id="11" idx="3"/>
          </p:cNvCxnSpPr>
          <p:nvPr/>
        </p:nvCxnSpPr>
        <p:spPr>
          <a:xfrm flipV="1">
            <a:off x="3336975" y="3086695"/>
            <a:ext cx="1375722" cy="82843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867E480D-6A62-4826-A4EB-A013C4D4E980}"/>
              </a:ext>
            </a:extLst>
          </p:cNvPr>
          <p:cNvCxnSpPr>
            <a:cxnSpLocks/>
            <a:endCxn id="13" idx="2"/>
          </p:cNvCxnSpPr>
          <p:nvPr/>
        </p:nvCxnSpPr>
        <p:spPr>
          <a:xfrm>
            <a:off x="5768903" y="2459670"/>
            <a:ext cx="1041067" cy="11208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8BEF2991-D913-457E-8EC6-97282B574782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3339865" y="4160741"/>
            <a:ext cx="2133556" cy="147814"/>
          </a:xfrm>
          <a:prstGeom prst="bentConnector3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30321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58C61-CB60-44F3-AEC3-E79583F966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49450" y="2008584"/>
            <a:ext cx="5245100" cy="909593"/>
          </a:xfrm>
        </p:spPr>
        <p:txBody>
          <a:bodyPr/>
          <a:lstStyle/>
          <a:p>
            <a:pPr algn="ctr"/>
            <a:r>
              <a:rPr lang="en-IN" sz="3600" dirty="0"/>
              <a:t>DEMONSTRATION</a:t>
            </a:r>
            <a:br>
              <a:rPr lang="en-IN" sz="3600" dirty="0"/>
            </a:br>
            <a:endParaRPr lang="en-IN" sz="36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442F1-2474-48B7-A5FF-EE08775688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811590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368938-2BB9-4265-BDA8-167E3FE690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5044" y="831718"/>
            <a:ext cx="5245100" cy="909593"/>
          </a:xfrm>
        </p:spPr>
        <p:txBody>
          <a:bodyPr/>
          <a:lstStyle/>
          <a:p>
            <a:r>
              <a:rPr lang="en-IN" dirty="0">
                <a:latin typeface="Calibri" panose="020F0502020204030204" pitchFamily="34" charset="0"/>
                <a:cs typeface="Calibri" panose="020F0502020204030204" pitchFamily="34" charset="0"/>
              </a:rPr>
              <a:t>FUTURE SCOPE FOR IMPROVEMEN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1DF83B-E888-41B1-B1E4-C50844A1AC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5044" y="1367865"/>
            <a:ext cx="8601530" cy="3085101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endParaRPr lang="en-US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inuous testing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ynthetic testing integration 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ubernete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ggest best services at the time of purchase. 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11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sz="1200" dirty="0"/>
          </a:p>
          <a:p>
            <a:pPr>
              <a:buFont typeface="Wingdings" panose="05000000000000000000" pitchFamily="2" charset="2"/>
              <a:buChar char="Ø"/>
            </a:pPr>
            <a:endParaRPr lang="en-US" sz="1200" dirty="0"/>
          </a:p>
          <a:p>
            <a:pPr>
              <a:buFont typeface="Wingdings" panose="05000000000000000000" pitchFamily="2" charset="2"/>
              <a:buChar char="Ø"/>
            </a:pPr>
            <a:endParaRPr lang="en-IN" sz="12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853EA64-7E0D-4D52-BD14-E4FDCDCDEB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973004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241474-217C-48FC-9717-23F8CD7DB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745" y="1548950"/>
            <a:ext cx="8199900" cy="1204913"/>
          </a:xfrm>
        </p:spPr>
        <p:txBody>
          <a:bodyPr/>
          <a:lstStyle/>
          <a:p>
            <a:pPr algn="ctr"/>
            <a:r>
              <a:rPr lang="en-IN" sz="3600" b="1" dirty="0">
                <a:latin typeface="Calibri" panose="020F0502020204030204" pitchFamily="34" charset="0"/>
                <a:cs typeface="Calibri" panose="020F0502020204030204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895502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6oWdVfTRiogTWym2neX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ZXeiOqSGGuvQdAuGq9l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bJzwrUSLeLxgY6PAwff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iTveioRrmfVrllc4ETs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0gC07VQSiMIpHfxsdGO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TAoF05TtWnspYIDI5d6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bXj3T5R_mFsU0QCha6T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mkd_vzT76QgiVJdTn1Q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1Iv7u8T.eURr3cfCUDn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IzJCM8QbKdGlMJ2EJ45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YRJC18SjCfJe5z9K.2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Z.6PNTQB2MGhOtHe3tu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ylGwZNQM.Nz1dZ9oXq3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jCKGkKRMeebaXhfquE1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AqnxWoR4.I9XhrFq2jE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b2WjPdTROZGMiv1dx7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OMnvulTsSbvuhDedwjE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zYEmI0RcWiE6wOwU4w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vq.AEuTImJVGEFHLToD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KDqX44QrWCamALo0k9.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87E3ZCSwqQPl_1nRJ0e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sOc7Z1RnK37UZKCfYLt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7ui8L2RB.eQw.wEHAAp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SN8OBmSlKKPUmXH9wcF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me1dcvQ7.89_dLD7Pb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UZkHXhSvK_fPl1Y_mir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.j5.K4ROyPgAOwmUh2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zPb2RgQUS1u98jeC9rC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YBBygKT6aK5.1BZbAmJ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FVQv3MTCq.V9mgwfIVW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9rb5FSGWKzwZMb546w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jBGGloTEuvxTZlPaItl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j_58i0Q8mpTVIcRdECh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6iWFPuSDyxvy36vzog9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ZQeuT.SGa7wjuqSTTeH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r9DkF9RX6C333VE56Gj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Za.nzVTL6bbvyscEUa7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tLIqnOQJqPMtxKkYF60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mYrcJMTZWPltP4al4y9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yTB.dYSC2TB48gSarVt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vH1H0HTQCm6SVLdsYaP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g8VUPJTnmxuBZ8eZQH5A"/>
</p:tagLst>
</file>

<file path=ppt/theme/theme1.xml><?xml version="1.0" encoding="utf-8"?>
<a:theme xmlns:a="http://schemas.openxmlformats.org/drawingml/2006/main" name="1_Wipro 2017 PPT Theme">
  <a:themeElements>
    <a:clrScheme name="Wipro Template 2014">
      <a:dk1>
        <a:srgbClr val="000000"/>
      </a:dk1>
      <a:lt1>
        <a:srgbClr val="FFFFFF"/>
      </a:lt1>
      <a:dk2>
        <a:srgbClr val="0E3570"/>
      </a:dk2>
      <a:lt2>
        <a:srgbClr val="F2F2F2"/>
      </a:lt2>
      <a:accent1>
        <a:srgbClr val="0E3570"/>
      </a:accent1>
      <a:accent2>
        <a:srgbClr val="646363"/>
      </a:accent2>
      <a:accent3>
        <a:srgbClr val="6DC24B"/>
      </a:accent3>
      <a:accent4>
        <a:srgbClr val="FFDA29"/>
      </a:accent4>
      <a:accent5>
        <a:srgbClr val="EF3341"/>
      </a:accent5>
      <a:accent6>
        <a:srgbClr val="00A2E0"/>
      </a:accent6>
      <a:hlink>
        <a:srgbClr val="646363"/>
      </a:hlink>
      <a:folHlink>
        <a:srgbClr val="646363"/>
      </a:folHlink>
    </a:clrScheme>
    <a:fontScheme name="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 w="6350">
          <a:solidFill>
            <a:schemeClr val="accent2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2"/>
          </a:solidFill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400" dirty="0" smtClean="0">
            <a:solidFill>
              <a:schemeClr val="accent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5C5D5A0E-3112-4AC5-A96F-8949CA43C739}" vid="{8D42C87D-71DC-4989-A6EF-B34D40F24327}"/>
    </a:ext>
  </a:extLst>
</a:theme>
</file>

<file path=ppt/theme/theme2.xml><?xml version="1.0" encoding="utf-8"?>
<a:theme xmlns:a="http://schemas.openxmlformats.org/drawingml/2006/main" name="Wipro Grid 16:9">
  <a:themeElements>
    <a:clrScheme name="Wipro">
      <a:dk1>
        <a:srgbClr val="000000"/>
      </a:dk1>
      <a:lt1>
        <a:srgbClr val="FFFFFF"/>
      </a:lt1>
      <a:dk2>
        <a:srgbClr val="0E3570"/>
      </a:dk2>
      <a:lt2>
        <a:srgbClr val="F2F2F2"/>
      </a:lt2>
      <a:accent1>
        <a:srgbClr val="071C3B"/>
      </a:accent1>
      <a:accent2>
        <a:srgbClr val="0A264E"/>
      </a:accent2>
      <a:accent3>
        <a:srgbClr val="FFDA29"/>
      </a:accent3>
      <a:accent4>
        <a:srgbClr val="3279E5"/>
      </a:accent4>
      <a:accent5>
        <a:srgbClr val="646363"/>
      </a:accent5>
      <a:accent6>
        <a:srgbClr val="EF3341"/>
      </a:accent6>
      <a:hlink>
        <a:srgbClr val="0E3570"/>
      </a:hlink>
      <a:folHlink>
        <a:srgbClr val="3279E5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60D9046DC5D7647997A0595CDFC0502" ma:contentTypeVersion="8" ma:contentTypeDescription="Create a new document." ma:contentTypeScope="" ma:versionID="ba761dccedebf85f19416e77b0484173">
  <xsd:schema xmlns:xsd="http://www.w3.org/2001/XMLSchema" xmlns:xs="http://www.w3.org/2001/XMLSchema" xmlns:p="http://schemas.microsoft.com/office/2006/metadata/properties" xmlns:ns2="7ca100fe-0e4a-42fe-9167-0d50c4948ca9" xmlns:ns3="2ef45e4c-c15c-4994-96ac-d5bce89a794a" targetNamespace="http://schemas.microsoft.com/office/2006/metadata/properties" ma:root="true" ma:fieldsID="021588171dadc8bac385d467ee22496f" ns2:_="" ns3:_="">
    <xsd:import namespace="7ca100fe-0e4a-42fe-9167-0d50c4948ca9"/>
    <xsd:import namespace="2ef45e4c-c15c-4994-96ac-d5bce89a794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a100fe-0e4a-42fe-9167-0d50c4948c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f45e4c-c15c-4994-96ac-d5bce89a794a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F861646-73DD-4519-AE18-677E4143E22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0978639-2238-40DD-AF04-69CB9F904A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ca100fe-0e4a-42fe-9167-0d50c4948ca9"/>
    <ds:schemaRef ds:uri="2ef45e4c-c15c-4994-96ac-d5bce89a794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18E7770-C6A8-4DC7-AB6F-150886F129E8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0030</TotalTime>
  <Words>197</Words>
  <Application>Microsoft Office PowerPoint</Application>
  <PresentationFormat>On-screen Show (16:9)</PresentationFormat>
  <Paragraphs>70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-apple-system</vt:lpstr>
      <vt:lpstr>Arial</vt:lpstr>
      <vt:lpstr>Calibri</vt:lpstr>
      <vt:lpstr>Trebuchet MS</vt:lpstr>
      <vt:lpstr>Wingdings</vt:lpstr>
      <vt:lpstr>1_Wipro 2017 PPT Theme</vt:lpstr>
      <vt:lpstr>Wipro Grid 16:9</vt:lpstr>
      <vt:lpstr>think-cell Slide</vt:lpstr>
      <vt:lpstr>CAPSTONE PROJECT : Online water services platform</vt:lpstr>
      <vt:lpstr>Table of Contents:</vt:lpstr>
      <vt:lpstr>INTRODUCTION OF TEAM:</vt:lpstr>
      <vt:lpstr>ABOUT CAPSTONE PROJECT:</vt:lpstr>
      <vt:lpstr>TOOLS USED</vt:lpstr>
      <vt:lpstr>TOOLS INTEGRATION WITH RESPECT TO PROJECT:</vt:lpstr>
      <vt:lpstr>DEMONSTRATION </vt:lpstr>
      <vt:lpstr>FUTURE SCOPE FOR IMPROVEMENT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jesh Srivastava</dc:creator>
  <cp:lastModifiedBy>Madhuri Kailas Tolambe</cp:lastModifiedBy>
  <cp:revision>1186</cp:revision>
  <cp:lastPrinted>2015-05-27T10:06:57Z</cp:lastPrinted>
  <dcterms:created xsi:type="dcterms:W3CDTF">2013-12-31T05:54:35Z</dcterms:created>
  <dcterms:modified xsi:type="dcterms:W3CDTF">2022-07-28T04:24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9a70571-31c6-4603-80c1-ef2fb871a62a_Enabled">
    <vt:lpwstr>True</vt:lpwstr>
  </property>
  <property fmtid="{D5CDD505-2E9C-101B-9397-08002B2CF9AE}" pid="3" name="MSIP_Label_b9a70571-31c6-4603-80c1-ef2fb871a62a_SiteId">
    <vt:lpwstr>258ac4e4-146a-411e-9dc8-79a9e12fd6da</vt:lpwstr>
  </property>
  <property fmtid="{D5CDD505-2E9C-101B-9397-08002B2CF9AE}" pid="4" name="MSIP_Label_b9a70571-31c6-4603-80c1-ef2fb871a62a_Ref">
    <vt:lpwstr>https://api.informationprotection.azure.com/api/258ac4e4-146a-411e-9dc8-79a9e12fd6da</vt:lpwstr>
  </property>
  <property fmtid="{D5CDD505-2E9C-101B-9397-08002B2CF9AE}" pid="5" name="MSIP_Label_b9a70571-31c6-4603-80c1-ef2fb871a62a_Owner">
    <vt:lpwstr>anurags@wipro.com</vt:lpwstr>
  </property>
  <property fmtid="{D5CDD505-2E9C-101B-9397-08002B2CF9AE}" pid="6" name="MSIP_Label_b9a70571-31c6-4603-80c1-ef2fb871a62a_SetDate">
    <vt:lpwstr>2018-03-20T17:33:45.0805514+05:30</vt:lpwstr>
  </property>
  <property fmtid="{D5CDD505-2E9C-101B-9397-08002B2CF9AE}" pid="7" name="MSIP_Label_b9a70571-31c6-4603-80c1-ef2fb871a62a_Name">
    <vt:lpwstr>Internal and Restricted</vt:lpwstr>
  </property>
  <property fmtid="{D5CDD505-2E9C-101B-9397-08002B2CF9AE}" pid="8" name="MSIP_Label_b9a70571-31c6-4603-80c1-ef2fb871a62a_Application">
    <vt:lpwstr>Microsoft Azure Information Protection</vt:lpwstr>
  </property>
  <property fmtid="{D5CDD505-2E9C-101B-9397-08002B2CF9AE}" pid="9" name="MSIP_Label_b9a70571-31c6-4603-80c1-ef2fb871a62a_Extended_MSFT_Method">
    <vt:lpwstr>Automatic</vt:lpwstr>
  </property>
  <property fmtid="{D5CDD505-2E9C-101B-9397-08002B2CF9AE}" pid="10" name="Sensitivity">
    <vt:lpwstr>Internal and Restricted</vt:lpwstr>
  </property>
  <property fmtid="{D5CDD505-2E9C-101B-9397-08002B2CF9AE}" pid="11" name="ContentTypeId">
    <vt:lpwstr>0x010100D60D9046DC5D7647997A0595CDFC0502</vt:lpwstr>
  </property>
</Properties>
</file>